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1B9_CE82F852.xml" ContentType="application/vnd.ms-powerpoint.comments+xml"/>
  <Override PartName="/ppt/notesSlides/notesSlide2.xml" ContentType="application/vnd.openxmlformats-officedocument.presentationml.notesSlide+xml"/>
  <Override PartName="/ppt/comments/modernComment_1BD_938D52AF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C2_308E7F82.xml" ContentType="application/vnd.ms-powerpoint.comments+xml"/>
  <Override PartName="/ppt/comments/modernComment_1DB_3EDCCDB2.xml" ContentType="application/vnd.ms-powerpoint.comments+xml"/>
  <Override PartName="/ppt/comments/modernComment_1CC_8FDCB8F4.xml" ContentType="application/vnd.ms-powerpoint.comments+xml"/>
  <Override PartName="/ppt/notesSlides/notesSlide7.xml" ContentType="application/vnd.openxmlformats-officedocument.presentationml.notesSlide+xml"/>
  <Override PartName="/ppt/comments/modernComment_1CD_8A607624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C7_8884E334.xml" ContentType="application/vnd.ms-powerpoint.comments+xml"/>
  <Override PartName="/ppt/comments/modernComment_1C8_192D7761.xml" ContentType="application/vnd.ms-powerpoint.comments+xml"/>
  <Override PartName="/ppt/comments/modernComment_1C9_C6E00A5E.xml" ContentType="application/vnd.ms-powerpoint.comments+xml"/>
  <Override PartName="/ppt/comments/modernComment_1CA_6EE2B4D6.xml" ContentType="application/vnd.ms-powerpoint.comments+xml"/>
  <Override PartName="/ppt/comments/modernComment_1F2_7F091B43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951" r:id="rId1"/>
  </p:sldMasterIdLst>
  <p:notesMasterIdLst>
    <p:notesMasterId r:id="rId53"/>
  </p:notesMasterIdLst>
  <p:handoutMasterIdLst>
    <p:handoutMasterId r:id="rId54"/>
  </p:handoutMasterIdLst>
  <p:sldIdLst>
    <p:sldId id="403" r:id="rId2"/>
    <p:sldId id="441" r:id="rId3"/>
    <p:sldId id="439" r:id="rId4"/>
    <p:sldId id="473" r:id="rId5"/>
    <p:sldId id="445" r:id="rId6"/>
    <p:sldId id="438" r:id="rId7"/>
    <p:sldId id="440" r:id="rId8"/>
    <p:sldId id="500" r:id="rId9"/>
    <p:sldId id="446" r:id="rId10"/>
    <p:sldId id="447" r:id="rId11"/>
    <p:sldId id="448" r:id="rId12"/>
    <p:sldId id="442" r:id="rId13"/>
    <p:sldId id="449" r:id="rId14"/>
    <p:sldId id="453" r:id="rId15"/>
    <p:sldId id="450" r:id="rId16"/>
    <p:sldId id="475" r:id="rId17"/>
    <p:sldId id="460" r:id="rId18"/>
    <p:sldId id="499" r:id="rId19"/>
    <p:sldId id="454" r:id="rId20"/>
    <p:sldId id="461" r:id="rId21"/>
    <p:sldId id="462" r:id="rId22"/>
    <p:sldId id="481" r:id="rId23"/>
    <p:sldId id="482" r:id="rId24"/>
    <p:sldId id="483" r:id="rId25"/>
    <p:sldId id="484" r:id="rId26"/>
    <p:sldId id="485" r:id="rId27"/>
    <p:sldId id="487" r:id="rId28"/>
    <p:sldId id="488" r:id="rId29"/>
    <p:sldId id="489" r:id="rId30"/>
    <p:sldId id="490" r:id="rId31"/>
    <p:sldId id="491" r:id="rId32"/>
    <p:sldId id="492" r:id="rId33"/>
    <p:sldId id="493" r:id="rId34"/>
    <p:sldId id="464" r:id="rId35"/>
    <p:sldId id="465" r:id="rId36"/>
    <p:sldId id="494" r:id="rId37"/>
    <p:sldId id="495" r:id="rId38"/>
    <p:sldId id="496" r:id="rId39"/>
    <p:sldId id="497" r:id="rId40"/>
    <p:sldId id="468" r:id="rId41"/>
    <p:sldId id="467" r:id="rId42"/>
    <p:sldId id="470" r:id="rId43"/>
    <p:sldId id="472" r:id="rId44"/>
    <p:sldId id="476" r:id="rId45"/>
    <p:sldId id="477" r:id="rId46"/>
    <p:sldId id="455" r:id="rId47"/>
    <p:sldId id="456" r:id="rId48"/>
    <p:sldId id="457" r:id="rId49"/>
    <p:sldId id="458" r:id="rId50"/>
    <p:sldId id="498" r:id="rId51"/>
    <p:sldId id="501" r:id="rId52"/>
  </p:sldIdLst>
  <p:sldSz cx="12198350" cy="6858000"/>
  <p:notesSz cx="6883400" cy="10007600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026">
          <p15:clr>
            <a:srgbClr val="A4A3A4"/>
          </p15:clr>
        </p15:guide>
        <p15:guide id="3" pos="3842">
          <p15:clr>
            <a:srgbClr val="A4A3A4"/>
          </p15:clr>
        </p15:guide>
        <p15:guide id="4" pos="440">
          <p15:clr>
            <a:srgbClr val="A4A3A4"/>
          </p15:clr>
        </p15:guide>
        <p15:guide id="5" pos="7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2">
          <p15:clr>
            <a:srgbClr val="A4A3A4"/>
          </p15:clr>
        </p15:guide>
        <p15:guide id="2" pos="216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7EEA"/>
    <a:srgbClr val="EBE9FD"/>
    <a:srgbClr val="E7ECFF"/>
    <a:srgbClr val="7F7F7F"/>
    <a:srgbClr val="FF9900"/>
    <a:srgbClr val="00B050"/>
    <a:srgbClr val="FF9393"/>
    <a:srgbClr val="FFFF0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4FB6D6-1A69-6DBE-C959-6E9884C06689}" v="5" dt="2024-01-11T11:54:46.648"/>
    <p1510:client id="{5DF55B64-1499-4BDD-A151-800D598F8E3E}" v="3413" dt="2024-01-12T08:38:50.600"/>
    <p1510:client id="{D13704BC-6B2B-4D80-A7C8-DA6E2A46306D}" v="3882" dt="2024-01-12T10:35:34.853"/>
    <p1510:client id="{EECA1133-D9BD-1543-63F3-2FFDC9CC2B9C}" v="29" dt="2024-01-11T13:49:40.2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45" autoAdjust="0"/>
    <p:restoredTop sz="75405" autoAdjust="0"/>
  </p:normalViewPr>
  <p:slideViewPr>
    <p:cSldViewPr>
      <p:cViewPr varScale="1">
        <p:scale>
          <a:sx n="69" d="100"/>
          <a:sy n="69" d="100"/>
        </p:scale>
        <p:origin x="898" y="58"/>
      </p:cViewPr>
      <p:guideLst>
        <p:guide orient="horz" pos="2160"/>
        <p:guide orient="horz" pos="1026"/>
        <p:guide pos="3842"/>
        <p:guide pos="440"/>
        <p:guide pos="7244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>
      <p:cViewPr varScale="1">
        <p:scale>
          <a:sx n="92" d="100"/>
          <a:sy n="92" d="100"/>
        </p:scale>
        <p:origin x="-2814" y="-114"/>
      </p:cViewPr>
      <p:guideLst>
        <p:guide orient="horz" pos="3152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omments/modernComment_1B9_CE82F8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7E599C-3441-41FE-9520-789F64B90924}" authorId="{00000000-0000-0000-0000-000000000000}" created="2024-01-10T13:41:07.41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464689746" sldId="441"/>
      <ac:spMk id="3" creationId="{00000000-0000-0000-0000-000000000000}"/>
    </ac:deMkLst>
    <p188:txBody>
      <a:bodyPr/>
      <a:lstStyle/>
      <a:p>
        <a:r>
          <a:rPr lang="en-US"/>
          <a:t>What do you mean by Other failed measures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BD_938D52A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58F84B5-9133-44B9-9A7B-B92567B9E3B4}" authorId="{00000000-0000-0000-0000-000000000000}" created="2024-01-10T13:39:43.791">
    <pc:sldMkLst xmlns:pc="http://schemas.microsoft.com/office/powerpoint/2013/main/command">
      <pc:docMk/>
      <pc:sldMk cId="2475512495" sldId="445"/>
    </pc:sldMkLst>
    <p188:txBody>
      <a:bodyPr/>
      <a:lstStyle/>
      <a:p>
        <a:r>
          <a:rPr lang="en-US"/>
          <a:t>Too much text, not optimal !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2_308E7F8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8EDF46F-55E7-4A95-88FD-15EE641257FF}" authorId="{00000000-0000-0000-0000-000000000000}" created="2024-01-10T14:08:16.20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814645122" sldId="450"/>
      <ac:spMk id="15" creationId="{3C234FD6-0C86-FC73-B68B-47C80A44F47A}"/>
    </ac:deMkLst>
    <p188:txBody>
      <a:bodyPr/>
      <a:lstStyle/>
      <a:p>
        <a:r>
          <a:rPr lang="en-US"/>
          <a:t>Reduce text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7_8884E33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DF068FA-708C-42D5-B268-3C5442D20E7E}" authorId="{00000000-0000-0000-0000-000000000000}" created="2024-01-11T12:20:06.805">
    <pc:sldMkLst xmlns:pc="http://schemas.microsoft.com/office/powerpoint/2013/main/command">
      <pc:docMk/>
      <pc:sldMk cId="570803107" sldId="455"/>
    </pc:sldMkLst>
    <p188:txBody>
      <a:bodyPr/>
      <a:lstStyle/>
      <a:p>
        <a:r>
          <a:rPr lang="en-US"/>
          <a:t>Cite !!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8_192D776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62B0BF2-3A3B-416E-B76E-211974538140}" authorId="{00000000-0000-0000-0000-000000000000}" created="2024-01-11T12:20:13.354">
    <pc:sldMkLst xmlns:pc="http://schemas.microsoft.com/office/powerpoint/2013/main/command">
      <pc:docMk/>
      <pc:sldMk cId="1536748071" sldId="456"/>
    </pc:sldMkLst>
    <p188:txBody>
      <a:bodyPr/>
      <a:lstStyle/>
      <a:p>
        <a:r>
          <a:rPr lang="en-US"/>
          <a:t>Cite !!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9_C6E00A5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392D52F-0B15-48AC-800B-155614498122}" authorId="{00000000-0000-0000-0000-000000000000}" created="2024-01-11T12:20:19.699">
    <pc:sldMkLst xmlns:pc="http://schemas.microsoft.com/office/powerpoint/2013/main/command">
      <pc:docMk/>
      <pc:sldMk cId="661571413" sldId="457"/>
    </pc:sldMkLst>
    <p188:txBody>
      <a:bodyPr/>
      <a:lstStyle/>
      <a:p>
        <a:r>
          <a:rPr lang="en-US"/>
          <a:t>Cite !!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A_6EE2B4D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7873EED-1263-48F3-A1C7-CFE2D60B7ABD}" authorId="{00000000-0000-0000-0000-000000000000}" created="2024-01-11T12:20:24.444">
    <pc:sldMkLst xmlns:pc="http://schemas.microsoft.com/office/powerpoint/2013/main/command">
      <pc:docMk/>
      <pc:sldMk cId="978165660" sldId="458"/>
    </pc:sldMkLst>
    <p188:txBody>
      <a:bodyPr/>
      <a:lstStyle/>
      <a:p>
        <a:r>
          <a:rPr lang="en-US"/>
          <a:t>Cite !!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C_8FDCB8F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2D16F43-68FC-478A-BA56-915DDA4BEF34}" authorId="{00000000-0000-0000-0000-000000000000}" created="2024-01-10T14:08:53.809">
    <pc:sldMkLst xmlns:pc="http://schemas.microsoft.com/office/powerpoint/2013/main/command">
      <pc:docMk/>
      <pc:sldMk cId="2413607156" sldId="460"/>
    </pc:sldMkLst>
    <p188:txBody>
      <a:bodyPr/>
      <a:lstStyle/>
      <a:p>
        <a:r>
          <a:rPr lang="en-US"/>
          <a:t>Too much text
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CD_8A60762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D971360-3CFD-4173-9FC0-F2E9DA392121}" authorId="{00000000-0000-0000-0000-000000000000}" created="2024-01-10T14:09:54.668">
    <pc:sldMkLst xmlns:pc="http://schemas.microsoft.com/office/powerpoint/2013/main/command">
      <pc:docMk/>
      <pc:sldMk cId="2321577508" sldId="461"/>
    </pc:sldMkLst>
    <p188:txBody>
      <a:bodyPr/>
      <a:lstStyle/>
      <a:p>
        <a:r>
          <a:rPr lang="en-US"/>
          <a:t>Too much text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DB_3EDCCDB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CBB33A6-C6DD-47C1-8D0E-16AE8AEF8002}" authorId="{00000000-0000-0000-0000-000000000000}" created="2024-01-10T14:08:53.809">
    <pc:sldMkLst xmlns:pc="http://schemas.microsoft.com/office/powerpoint/2013/main/command">
      <pc:docMk/>
      <pc:sldMk cId="2413607156" sldId="460"/>
    </pc:sldMkLst>
    <p188:txBody>
      <a:bodyPr/>
      <a:lstStyle/>
      <a:p>
        <a:r>
          <a:rPr lang="en-US"/>
          <a:t>Too much text
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F2_7F091B4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B8586F3-7599-48DC-818A-EC24E7ACFBC2}" authorId="{00000000-0000-0000-0000-000000000000}" created="2024-01-10T14:08:53.809">
    <pc:sldMkLst xmlns:pc="http://schemas.microsoft.com/office/powerpoint/2013/main/command">
      <pc:docMk/>
      <pc:sldMk cId="2413607156" sldId="460"/>
    </pc:sldMkLst>
    <p188:txBody>
      <a:bodyPr/>
      <a:lstStyle/>
      <a:p>
        <a:r>
          <a:rPr lang="en-US"/>
          <a:t>Too much text
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quarter" idx="1"/>
          </p:nvPr>
        </p:nvSpPr>
        <p:spPr bwMode="auto">
          <a:xfrm>
            <a:off x="3898900" y="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algn="r"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fld id="{850F278F-4CA1-4352-8BA2-CE05FE786054}" type="datetime1">
              <a:rPr lang="en-US" altLang="ja-JP"/>
              <a:pPr>
                <a:defRPr/>
              </a:pPr>
              <a:t>3/31/2024</a:t>
            </a:fld>
            <a:endParaRPr lang="en-US" altLang="ja-JP" dirty="0"/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2"/>
          </p:nvPr>
        </p:nvSpPr>
        <p:spPr bwMode="auto">
          <a:xfrm>
            <a:off x="0" y="950595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3"/>
          </p:nvPr>
        </p:nvSpPr>
        <p:spPr bwMode="auto">
          <a:xfrm>
            <a:off x="3898900" y="950595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algn="r"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fld id="{09283D34-F0AF-46D1-95BC-588DE547DCB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625923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8900" y="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algn="r"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363" y="750888"/>
            <a:ext cx="6672262" cy="3751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8975" y="4752975"/>
            <a:ext cx="5505450" cy="4503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/>
              <a:t>マスタ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50595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8900" y="9505950"/>
            <a:ext cx="2982913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algn="r" defTabSz="922338">
              <a:defRPr kumimoji="1" sz="1200">
                <a:ea typeface="ＭＳ Ｐゴシック" pitchFamily="-96" charset="-128"/>
              </a:defRPr>
            </a:lvl1pPr>
          </a:lstStyle>
          <a:p>
            <a:pPr>
              <a:defRPr/>
            </a:pPr>
            <a:fld id="{893BFAF7-D32B-44E0-81A0-A48052D9698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1086148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ＭＳ Ｐ明朝" pitchFamily="-107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ＭＳ Ｐ明朝" pitchFamily="-107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ＭＳ Ｐ明朝" pitchFamily="-107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ＭＳ Ｐ明朝" pitchFamily="-107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ＭＳ Ｐ明朝" pitchFamily="-107" charset="-128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655027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35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326608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38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63121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40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328818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44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293222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ne slide big t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46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023391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65502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7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65502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13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53394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pted for such architecture to address the shortcomings of the standard transformer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14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58797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nd less time as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15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17303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19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2263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write the tables</a:t>
            </a:r>
          </a:p>
          <a:p>
            <a:r>
              <a:rPr lang="en-US" dirty="0"/>
              <a:t>make cross net values bol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2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783599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93BFAF7-D32B-44E0-81A0-A48052D96982}" type="slidenum">
              <a:rPr lang="en-US" altLang="ja-JP" smtClean="0"/>
              <a:pPr>
                <a:defRPr/>
              </a:pPr>
              <a:t>33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041234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95BD88C-373F-4401-8D74-D3BD052C7C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6283265"/>
              </p:ext>
            </p:ext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1" imgH="298" progId="TCLayout.ActiveDocument.1">
                  <p:embed/>
                </p:oleObj>
              </mc:Choice>
              <mc:Fallback>
                <p:oleObj name="think-cell Folie" r:id="rId3" imgW="301" imgH="29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95BD88C-373F-4401-8D74-D3BD052C7C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1858DAC-00A1-4460-88B8-2DFC519116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" y="0"/>
            <a:ext cx="12198349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4124" y="2443258"/>
            <a:ext cx="11335199" cy="677080"/>
          </a:xfrm>
        </p:spPr>
        <p:txBody>
          <a:bodyPr vert="horz" lIns="0" tIns="0" bIns="0" anchor="b"/>
          <a:lstStyle>
            <a:lvl1pPr algn="ctr">
              <a:defRPr sz="439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4126" y="3496511"/>
            <a:ext cx="11335195" cy="899252"/>
          </a:xfrm>
        </p:spPr>
        <p:txBody>
          <a:bodyPr lIns="0" tIns="108000" anchor="t">
            <a:noAutofit/>
          </a:bodyPr>
          <a:lstStyle>
            <a:lvl1pPr marL="0" indent="0" algn="ctr">
              <a:buNone/>
              <a:defRPr sz="1999" b="0">
                <a:solidFill>
                  <a:schemeClr val="tx1"/>
                </a:solidFill>
              </a:defRPr>
            </a:lvl1pPr>
            <a:lvl2pPr marL="457062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8" indent="0" algn="ctr">
              <a:buNone/>
              <a:defRPr sz="1599"/>
            </a:lvl4pPr>
            <a:lvl5pPr marL="1828251" indent="0" algn="ctr">
              <a:buNone/>
              <a:defRPr sz="1599"/>
            </a:lvl5pPr>
            <a:lvl6pPr marL="2285314" indent="0" algn="ctr">
              <a:buNone/>
              <a:defRPr sz="1599"/>
            </a:lvl6pPr>
            <a:lvl7pPr marL="2742377" indent="0" algn="ctr">
              <a:buNone/>
              <a:defRPr sz="1599"/>
            </a:lvl7pPr>
            <a:lvl8pPr marL="3199439" indent="0" algn="ctr">
              <a:buNone/>
              <a:defRPr sz="1599"/>
            </a:lvl8pPr>
            <a:lvl9pPr marL="3656503" indent="0" algn="ctr">
              <a:buNone/>
              <a:defRPr sz="1599"/>
            </a:lvl9pPr>
          </a:lstStyle>
          <a:p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Location</a:t>
            </a:r>
          </a:p>
        </p:txBody>
      </p:sp>
      <p:pic>
        <p:nvPicPr>
          <p:cNvPr id="92" name="図 16">
            <a:extLst>
              <a:ext uri="{FF2B5EF4-FFF2-40B4-BE49-F238E27FC236}">
                <a16:creationId xmlns:a16="http://schemas.microsoft.com/office/drawing/2014/main" id="{11FF52E1-6340-474D-8380-8A217D1C3E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21" y="302331"/>
            <a:ext cx="1437423" cy="361537"/>
          </a:xfrm>
          <a:prstGeom prst="rect">
            <a:avLst/>
          </a:prstGeom>
        </p:spPr>
      </p:pic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1BBA0AAB-7D29-4995-8853-74E9D08E56F2}"/>
              </a:ext>
            </a:extLst>
          </p:cNvPr>
          <p:cNvGrpSpPr/>
          <p:nvPr/>
        </p:nvGrpSpPr>
        <p:grpSpPr>
          <a:xfrm>
            <a:off x="8166531" y="358875"/>
            <a:ext cx="3582791" cy="1012253"/>
            <a:chOff x="4056642" y="4703775"/>
            <a:chExt cx="5278004" cy="1490774"/>
          </a:xfrm>
        </p:grpSpPr>
        <p:sp>
          <p:nvSpPr>
            <p:cNvPr id="97" name="Grafik 5">
              <a:extLst>
                <a:ext uri="{FF2B5EF4-FFF2-40B4-BE49-F238E27FC236}">
                  <a16:creationId xmlns:a16="http://schemas.microsoft.com/office/drawing/2014/main" id="{2891C0E1-5857-4915-B470-DB01452AEB89}"/>
                </a:ext>
              </a:extLst>
            </p:cNvPr>
            <p:cNvSpPr/>
            <p:nvPr/>
          </p:nvSpPr>
          <p:spPr>
            <a:xfrm>
              <a:off x="6771743" y="5927933"/>
              <a:ext cx="188214" cy="205282"/>
            </a:xfrm>
            <a:custGeom>
              <a:avLst/>
              <a:gdLst>
                <a:gd name="connsiteX0" fmla="*/ 58351 w 188214"/>
                <a:gd name="connsiteY0" fmla="*/ 102366 h 205282"/>
                <a:gd name="connsiteX1" fmla="*/ 92927 w 188214"/>
                <a:gd name="connsiteY1" fmla="*/ 49407 h 205282"/>
                <a:gd name="connsiteX2" fmla="*/ 131027 w 188214"/>
                <a:gd name="connsiteY2" fmla="*/ 102366 h 205282"/>
                <a:gd name="connsiteX3" fmla="*/ 92927 w 188214"/>
                <a:gd name="connsiteY3" fmla="*/ 155420 h 205282"/>
                <a:gd name="connsiteX4" fmla="*/ 58351 w 188214"/>
                <a:gd name="connsiteY4" fmla="*/ 102366 h 205282"/>
                <a:gd name="connsiteX5" fmla="*/ 129122 w 188214"/>
                <a:gd name="connsiteY5" fmla="*/ 192472 h 205282"/>
                <a:gd name="connsiteX6" fmla="*/ 129122 w 188214"/>
                <a:gd name="connsiteY6" fmla="*/ 201045 h 205282"/>
                <a:gd name="connsiteX7" fmla="*/ 187891 w 188214"/>
                <a:gd name="connsiteY7" fmla="*/ 201045 h 205282"/>
                <a:gd name="connsiteX8" fmla="*/ 187891 w 188214"/>
                <a:gd name="connsiteY8" fmla="*/ 3782 h 205282"/>
                <a:gd name="connsiteX9" fmla="*/ 129217 w 188214"/>
                <a:gd name="connsiteY9" fmla="*/ 3782 h 205282"/>
                <a:gd name="connsiteX10" fmla="*/ 129217 w 188214"/>
                <a:gd name="connsiteY10" fmla="*/ 14069 h 205282"/>
                <a:gd name="connsiteX11" fmla="*/ 84545 w 188214"/>
                <a:gd name="connsiteY11" fmla="*/ -218 h 205282"/>
                <a:gd name="connsiteX12" fmla="*/ -323 w 188214"/>
                <a:gd name="connsiteY12" fmla="*/ 102366 h 205282"/>
                <a:gd name="connsiteX13" fmla="*/ 84545 w 188214"/>
                <a:gd name="connsiteY13" fmla="*/ 205045 h 205282"/>
                <a:gd name="connsiteX14" fmla="*/ 129122 w 188214"/>
                <a:gd name="connsiteY14" fmla="*/ 192472 h 20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214" h="205282">
                  <a:moveTo>
                    <a:pt x="58351" y="102366"/>
                  </a:moveTo>
                  <a:cubicBezTo>
                    <a:pt x="58351" y="80458"/>
                    <a:pt x="65209" y="49407"/>
                    <a:pt x="92927" y="49407"/>
                  </a:cubicBezTo>
                  <a:cubicBezTo>
                    <a:pt x="120645" y="49407"/>
                    <a:pt x="131027" y="77982"/>
                    <a:pt x="131027" y="102366"/>
                  </a:cubicBezTo>
                  <a:cubicBezTo>
                    <a:pt x="131027" y="126750"/>
                    <a:pt x="121502" y="155230"/>
                    <a:pt x="92927" y="155420"/>
                  </a:cubicBezTo>
                  <a:cubicBezTo>
                    <a:pt x="64352" y="155610"/>
                    <a:pt x="58351" y="124464"/>
                    <a:pt x="58351" y="102366"/>
                  </a:cubicBezTo>
                  <a:close/>
                  <a:moveTo>
                    <a:pt x="129122" y="192472"/>
                  </a:moveTo>
                  <a:lnTo>
                    <a:pt x="129122" y="201045"/>
                  </a:lnTo>
                  <a:lnTo>
                    <a:pt x="187891" y="201045"/>
                  </a:lnTo>
                  <a:lnTo>
                    <a:pt x="187891" y="3782"/>
                  </a:lnTo>
                  <a:lnTo>
                    <a:pt x="129217" y="3782"/>
                  </a:lnTo>
                  <a:lnTo>
                    <a:pt x="129217" y="14069"/>
                  </a:lnTo>
                  <a:cubicBezTo>
                    <a:pt x="116196" y="4725"/>
                    <a:pt x="100566" y="-276"/>
                    <a:pt x="84545" y="-218"/>
                  </a:cubicBezTo>
                  <a:cubicBezTo>
                    <a:pt x="27395" y="-218"/>
                    <a:pt x="-323" y="49978"/>
                    <a:pt x="-323" y="102366"/>
                  </a:cubicBezTo>
                  <a:cubicBezTo>
                    <a:pt x="-323" y="153325"/>
                    <a:pt x="26062" y="204855"/>
                    <a:pt x="84545" y="205045"/>
                  </a:cubicBezTo>
                  <a:cubicBezTo>
                    <a:pt x="100328" y="205388"/>
                    <a:pt x="115844" y="201007"/>
                    <a:pt x="129122" y="19247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98" name="Grafik 5">
              <a:extLst>
                <a:ext uri="{FF2B5EF4-FFF2-40B4-BE49-F238E27FC236}">
                  <a16:creationId xmlns:a16="http://schemas.microsoft.com/office/drawing/2014/main" id="{0FB166F3-34EA-4B5D-ADEA-F7797B600CCF}"/>
                </a:ext>
              </a:extLst>
            </p:cNvPr>
            <p:cNvSpPr/>
            <p:nvPr/>
          </p:nvSpPr>
          <p:spPr>
            <a:xfrm>
              <a:off x="7468687" y="5927933"/>
              <a:ext cx="188214" cy="205280"/>
            </a:xfrm>
            <a:custGeom>
              <a:avLst/>
              <a:gdLst>
                <a:gd name="connsiteX0" fmla="*/ 58352 w 188214"/>
                <a:gd name="connsiteY0" fmla="*/ 102365 h 205280"/>
                <a:gd name="connsiteX1" fmla="*/ 92927 w 188214"/>
                <a:gd name="connsiteY1" fmla="*/ 49406 h 205280"/>
                <a:gd name="connsiteX2" fmla="*/ 131027 w 188214"/>
                <a:gd name="connsiteY2" fmla="*/ 102365 h 205280"/>
                <a:gd name="connsiteX3" fmla="*/ 92927 w 188214"/>
                <a:gd name="connsiteY3" fmla="*/ 155420 h 205280"/>
                <a:gd name="connsiteX4" fmla="*/ 58352 w 188214"/>
                <a:gd name="connsiteY4" fmla="*/ 102365 h 205280"/>
                <a:gd name="connsiteX5" fmla="*/ 129218 w 188214"/>
                <a:gd name="connsiteY5" fmla="*/ 192472 h 205280"/>
                <a:gd name="connsiteX6" fmla="*/ 129218 w 188214"/>
                <a:gd name="connsiteY6" fmla="*/ 201044 h 205280"/>
                <a:gd name="connsiteX7" fmla="*/ 187891 w 188214"/>
                <a:gd name="connsiteY7" fmla="*/ 201044 h 205280"/>
                <a:gd name="connsiteX8" fmla="*/ 187891 w 188214"/>
                <a:gd name="connsiteY8" fmla="*/ 3781 h 205280"/>
                <a:gd name="connsiteX9" fmla="*/ 129218 w 188214"/>
                <a:gd name="connsiteY9" fmla="*/ 3781 h 205280"/>
                <a:gd name="connsiteX10" fmla="*/ 129218 w 188214"/>
                <a:gd name="connsiteY10" fmla="*/ 14069 h 205280"/>
                <a:gd name="connsiteX11" fmla="*/ 84545 w 188214"/>
                <a:gd name="connsiteY11" fmla="*/ -219 h 205280"/>
                <a:gd name="connsiteX12" fmla="*/ -323 w 188214"/>
                <a:gd name="connsiteY12" fmla="*/ 102365 h 205280"/>
                <a:gd name="connsiteX13" fmla="*/ 84545 w 188214"/>
                <a:gd name="connsiteY13" fmla="*/ 205045 h 205280"/>
                <a:gd name="connsiteX14" fmla="*/ 129218 w 188214"/>
                <a:gd name="connsiteY14" fmla="*/ 192472 h 205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214" h="205280">
                  <a:moveTo>
                    <a:pt x="58352" y="102365"/>
                  </a:moveTo>
                  <a:cubicBezTo>
                    <a:pt x="58352" y="80458"/>
                    <a:pt x="65209" y="49406"/>
                    <a:pt x="92927" y="49406"/>
                  </a:cubicBezTo>
                  <a:cubicBezTo>
                    <a:pt x="120645" y="49406"/>
                    <a:pt x="131027" y="77981"/>
                    <a:pt x="131027" y="102365"/>
                  </a:cubicBezTo>
                  <a:cubicBezTo>
                    <a:pt x="131027" y="126749"/>
                    <a:pt x="121502" y="155229"/>
                    <a:pt x="92927" y="155420"/>
                  </a:cubicBezTo>
                  <a:cubicBezTo>
                    <a:pt x="64352" y="155610"/>
                    <a:pt x="58352" y="124463"/>
                    <a:pt x="58352" y="102365"/>
                  </a:cubicBezTo>
                  <a:close/>
                  <a:moveTo>
                    <a:pt x="129218" y="192472"/>
                  </a:moveTo>
                  <a:lnTo>
                    <a:pt x="129218" y="201044"/>
                  </a:lnTo>
                  <a:lnTo>
                    <a:pt x="187891" y="201044"/>
                  </a:lnTo>
                  <a:lnTo>
                    <a:pt x="187891" y="3781"/>
                  </a:lnTo>
                  <a:lnTo>
                    <a:pt x="129218" y="3781"/>
                  </a:lnTo>
                  <a:lnTo>
                    <a:pt x="129218" y="14069"/>
                  </a:lnTo>
                  <a:cubicBezTo>
                    <a:pt x="116178" y="4763"/>
                    <a:pt x="100567" y="-228"/>
                    <a:pt x="84545" y="-219"/>
                  </a:cubicBezTo>
                  <a:cubicBezTo>
                    <a:pt x="27395" y="-219"/>
                    <a:pt x="-323" y="49978"/>
                    <a:pt x="-323" y="102365"/>
                  </a:cubicBezTo>
                  <a:cubicBezTo>
                    <a:pt x="-323" y="153324"/>
                    <a:pt x="26062" y="204854"/>
                    <a:pt x="84545" y="205045"/>
                  </a:cubicBezTo>
                  <a:cubicBezTo>
                    <a:pt x="100357" y="205369"/>
                    <a:pt x="115902" y="200997"/>
                    <a:pt x="129218" y="19247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99" name="Grafik 5">
              <a:extLst>
                <a:ext uri="{FF2B5EF4-FFF2-40B4-BE49-F238E27FC236}">
                  <a16:creationId xmlns:a16="http://schemas.microsoft.com/office/drawing/2014/main" id="{06AD8002-BF3F-4786-8BEB-2D9E9F23ADB3}"/>
                </a:ext>
              </a:extLst>
            </p:cNvPr>
            <p:cNvSpPr/>
            <p:nvPr/>
          </p:nvSpPr>
          <p:spPr>
            <a:xfrm>
              <a:off x="8242022" y="5927933"/>
              <a:ext cx="188214" cy="205281"/>
            </a:xfrm>
            <a:custGeom>
              <a:avLst/>
              <a:gdLst>
                <a:gd name="connsiteX0" fmla="*/ 58447 w 188214"/>
                <a:gd name="connsiteY0" fmla="*/ 102366 h 205281"/>
                <a:gd name="connsiteX1" fmla="*/ 92927 w 188214"/>
                <a:gd name="connsiteY1" fmla="*/ 49407 h 205281"/>
                <a:gd name="connsiteX2" fmla="*/ 131027 w 188214"/>
                <a:gd name="connsiteY2" fmla="*/ 102366 h 205281"/>
                <a:gd name="connsiteX3" fmla="*/ 92927 w 188214"/>
                <a:gd name="connsiteY3" fmla="*/ 155420 h 205281"/>
                <a:gd name="connsiteX4" fmla="*/ 58447 w 188214"/>
                <a:gd name="connsiteY4" fmla="*/ 102366 h 205281"/>
                <a:gd name="connsiteX5" fmla="*/ 129218 w 188214"/>
                <a:gd name="connsiteY5" fmla="*/ 192472 h 205281"/>
                <a:gd name="connsiteX6" fmla="*/ 129218 w 188214"/>
                <a:gd name="connsiteY6" fmla="*/ 201045 h 205281"/>
                <a:gd name="connsiteX7" fmla="*/ 187891 w 188214"/>
                <a:gd name="connsiteY7" fmla="*/ 201045 h 205281"/>
                <a:gd name="connsiteX8" fmla="*/ 187891 w 188214"/>
                <a:gd name="connsiteY8" fmla="*/ 3782 h 205281"/>
                <a:gd name="connsiteX9" fmla="*/ 129218 w 188214"/>
                <a:gd name="connsiteY9" fmla="*/ 3782 h 205281"/>
                <a:gd name="connsiteX10" fmla="*/ 129218 w 188214"/>
                <a:gd name="connsiteY10" fmla="*/ 14069 h 205281"/>
                <a:gd name="connsiteX11" fmla="*/ 84545 w 188214"/>
                <a:gd name="connsiteY11" fmla="*/ -218 h 205281"/>
                <a:gd name="connsiteX12" fmla="*/ -323 w 188214"/>
                <a:gd name="connsiteY12" fmla="*/ 102366 h 205281"/>
                <a:gd name="connsiteX13" fmla="*/ 84641 w 188214"/>
                <a:gd name="connsiteY13" fmla="*/ 205045 h 205281"/>
                <a:gd name="connsiteX14" fmla="*/ 129218 w 188214"/>
                <a:gd name="connsiteY14" fmla="*/ 192472 h 205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214" h="205281">
                  <a:moveTo>
                    <a:pt x="58447" y="102366"/>
                  </a:moveTo>
                  <a:cubicBezTo>
                    <a:pt x="58447" y="80458"/>
                    <a:pt x="65305" y="49407"/>
                    <a:pt x="92927" y="49407"/>
                  </a:cubicBezTo>
                  <a:cubicBezTo>
                    <a:pt x="120550" y="49407"/>
                    <a:pt x="131027" y="77982"/>
                    <a:pt x="131027" y="102366"/>
                  </a:cubicBezTo>
                  <a:cubicBezTo>
                    <a:pt x="131027" y="126750"/>
                    <a:pt x="121502" y="155230"/>
                    <a:pt x="92927" y="155420"/>
                  </a:cubicBezTo>
                  <a:cubicBezTo>
                    <a:pt x="64352" y="155610"/>
                    <a:pt x="58447" y="124464"/>
                    <a:pt x="58447" y="102366"/>
                  </a:cubicBezTo>
                  <a:close/>
                  <a:moveTo>
                    <a:pt x="129218" y="192472"/>
                  </a:moveTo>
                  <a:lnTo>
                    <a:pt x="129218" y="201045"/>
                  </a:lnTo>
                  <a:lnTo>
                    <a:pt x="187891" y="201045"/>
                  </a:lnTo>
                  <a:lnTo>
                    <a:pt x="187891" y="3782"/>
                  </a:lnTo>
                  <a:lnTo>
                    <a:pt x="129218" y="3782"/>
                  </a:lnTo>
                  <a:lnTo>
                    <a:pt x="129218" y="14069"/>
                  </a:lnTo>
                  <a:cubicBezTo>
                    <a:pt x="116197" y="4725"/>
                    <a:pt x="100567" y="-276"/>
                    <a:pt x="84545" y="-218"/>
                  </a:cubicBezTo>
                  <a:cubicBezTo>
                    <a:pt x="27395" y="-218"/>
                    <a:pt x="-323" y="49978"/>
                    <a:pt x="-323" y="102366"/>
                  </a:cubicBezTo>
                  <a:cubicBezTo>
                    <a:pt x="-323" y="153325"/>
                    <a:pt x="26157" y="204855"/>
                    <a:pt x="84641" y="205045"/>
                  </a:cubicBezTo>
                  <a:cubicBezTo>
                    <a:pt x="100424" y="205379"/>
                    <a:pt x="115939" y="200997"/>
                    <a:pt x="129218" y="19247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0" name="Grafik 5">
              <a:extLst>
                <a:ext uri="{FF2B5EF4-FFF2-40B4-BE49-F238E27FC236}">
                  <a16:creationId xmlns:a16="http://schemas.microsoft.com/office/drawing/2014/main" id="{4745E8AF-605C-4E3D-9798-51FD79C95CDF}"/>
                </a:ext>
              </a:extLst>
            </p:cNvPr>
            <p:cNvSpPr/>
            <p:nvPr/>
          </p:nvSpPr>
          <p:spPr>
            <a:xfrm>
              <a:off x="7451348" y="4782457"/>
              <a:ext cx="1458090" cy="930939"/>
            </a:xfrm>
            <a:custGeom>
              <a:avLst/>
              <a:gdLst>
                <a:gd name="connsiteX0" fmla="*/ 252665 w 1458090"/>
                <a:gd name="connsiteY0" fmla="*/ 673866 h 930939"/>
                <a:gd name="connsiteX1" fmla="*/ 258666 w 1458090"/>
                <a:gd name="connsiteY1" fmla="*/ 720157 h 930939"/>
                <a:gd name="connsiteX2" fmla="*/ 277716 w 1458090"/>
                <a:gd name="connsiteY2" fmla="*/ 760638 h 930939"/>
                <a:gd name="connsiteX3" fmla="*/ 310959 w 1458090"/>
                <a:gd name="connsiteY3" fmla="*/ 789689 h 930939"/>
                <a:gd name="connsiteX4" fmla="*/ 360298 w 1458090"/>
                <a:gd name="connsiteY4" fmla="*/ 800453 h 930939"/>
                <a:gd name="connsiteX5" fmla="*/ 1457768 w 1458090"/>
                <a:gd name="connsiteY5" fmla="*/ 800453 h 930939"/>
                <a:gd name="connsiteX6" fmla="*/ 1457768 w 1458090"/>
                <a:gd name="connsiteY6" fmla="*/ 930660 h 930939"/>
                <a:gd name="connsiteX7" fmla="*/ 273239 w 1458090"/>
                <a:gd name="connsiteY7" fmla="*/ 930660 h 930939"/>
                <a:gd name="connsiteX8" fmla="*/ 148176 w 1458090"/>
                <a:gd name="connsiteY8" fmla="*/ 909800 h 930939"/>
                <a:gd name="connsiteX9" fmla="*/ 63213 w 1458090"/>
                <a:gd name="connsiteY9" fmla="*/ 853793 h 930939"/>
                <a:gd name="connsiteX10" fmla="*/ 14921 w 1458090"/>
                <a:gd name="connsiteY10" fmla="*/ 771973 h 930939"/>
                <a:gd name="connsiteX11" fmla="*/ -319 w 1458090"/>
                <a:gd name="connsiteY11" fmla="*/ 673866 h 930939"/>
                <a:gd name="connsiteX12" fmla="*/ -319 w 1458090"/>
                <a:gd name="connsiteY12" fmla="*/ -219 h 930939"/>
                <a:gd name="connsiteX13" fmla="*/ 252665 w 1458090"/>
                <a:gd name="connsiteY13" fmla="*/ -219 h 930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8090" h="930939">
                  <a:moveTo>
                    <a:pt x="252665" y="673866"/>
                  </a:moveTo>
                  <a:cubicBezTo>
                    <a:pt x="252646" y="689486"/>
                    <a:pt x="254665" y="705050"/>
                    <a:pt x="258666" y="720157"/>
                  </a:cubicBezTo>
                  <a:cubicBezTo>
                    <a:pt x="262438" y="734721"/>
                    <a:pt x="268896" y="748446"/>
                    <a:pt x="277716" y="760638"/>
                  </a:cubicBezTo>
                  <a:cubicBezTo>
                    <a:pt x="286317" y="772840"/>
                    <a:pt x="297719" y="782793"/>
                    <a:pt x="310959" y="789689"/>
                  </a:cubicBezTo>
                  <a:cubicBezTo>
                    <a:pt x="326331" y="797090"/>
                    <a:pt x="343239" y="800776"/>
                    <a:pt x="360298" y="800453"/>
                  </a:cubicBezTo>
                  <a:lnTo>
                    <a:pt x="1457768" y="800453"/>
                  </a:lnTo>
                  <a:lnTo>
                    <a:pt x="1457768" y="930660"/>
                  </a:lnTo>
                  <a:lnTo>
                    <a:pt x="273239" y="930660"/>
                  </a:lnTo>
                  <a:cubicBezTo>
                    <a:pt x="230625" y="931459"/>
                    <a:pt x="188229" y="924392"/>
                    <a:pt x="148176" y="909800"/>
                  </a:cubicBezTo>
                  <a:cubicBezTo>
                    <a:pt x="115915" y="897932"/>
                    <a:pt x="86835" y="878758"/>
                    <a:pt x="63213" y="853793"/>
                  </a:cubicBezTo>
                  <a:cubicBezTo>
                    <a:pt x="41563" y="830199"/>
                    <a:pt x="25113" y="802329"/>
                    <a:pt x="14921" y="771973"/>
                  </a:cubicBezTo>
                  <a:cubicBezTo>
                    <a:pt x="4663" y="740283"/>
                    <a:pt x="-481" y="707174"/>
                    <a:pt x="-319" y="673866"/>
                  </a:cubicBezTo>
                  <a:lnTo>
                    <a:pt x="-319" y="-219"/>
                  </a:lnTo>
                  <a:lnTo>
                    <a:pt x="252665" y="-21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1" name="Grafik 5">
              <a:extLst>
                <a:ext uri="{FF2B5EF4-FFF2-40B4-BE49-F238E27FC236}">
                  <a16:creationId xmlns:a16="http://schemas.microsoft.com/office/drawing/2014/main" id="{10ADE1A6-C8ED-41B3-8F7A-E0F3DFB3A61F}"/>
                </a:ext>
              </a:extLst>
            </p:cNvPr>
            <p:cNvSpPr/>
            <p:nvPr/>
          </p:nvSpPr>
          <p:spPr>
            <a:xfrm>
              <a:off x="5771516" y="4782375"/>
              <a:ext cx="1458101" cy="930545"/>
            </a:xfrm>
            <a:custGeom>
              <a:avLst/>
              <a:gdLst>
                <a:gd name="connsiteX0" fmla="*/ 252573 w 1458101"/>
                <a:gd name="connsiteY0" fmla="*/ 256562 h 930545"/>
                <a:gd name="connsiteX1" fmla="*/ 258573 w 1458101"/>
                <a:gd name="connsiteY1" fmla="*/ 210271 h 930545"/>
                <a:gd name="connsiteX2" fmla="*/ 277623 w 1458101"/>
                <a:gd name="connsiteY2" fmla="*/ 169789 h 930545"/>
                <a:gd name="connsiteX3" fmla="*/ 310771 w 1458101"/>
                <a:gd name="connsiteY3" fmla="*/ 141214 h 930545"/>
                <a:gd name="connsiteX4" fmla="*/ 360206 w 1458101"/>
                <a:gd name="connsiteY4" fmla="*/ 130356 h 930545"/>
                <a:gd name="connsiteX5" fmla="*/ 1457771 w 1458101"/>
                <a:gd name="connsiteY5" fmla="*/ 130356 h 930545"/>
                <a:gd name="connsiteX6" fmla="*/ 1457771 w 1458101"/>
                <a:gd name="connsiteY6" fmla="*/ -137 h 930545"/>
                <a:gd name="connsiteX7" fmla="*/ 273242 w 1458101"/>
                <a:gd name="connsiteY7" fmla="*/ -137 h 930545"/>
                <a:gd name="connsiteX8" fmla="*/ 148179 w 1458101"/>
                <a:gd name="connsiteY8" fmla="*/ 20628 h 930545"/>
                <a:gd name="connsiteX9" fmla="*/ 63216 w 1458101"/>
                <a:gd name="connsiteY9" fmla="*/ 76635 h 930545"/>
                <a:gd name="connsiteX10" fmla="*/ 14924 w 1458101"/>
                <a:gd name="connsiteY10" fmla="*/ 158550 h 930545"/>
                <a:gd name="connsiteX11" fmla="*/ -316 w 1458101"/>
                <a:gd name="connsiteY11" fmla="*/ 256562 h 930545"/>
                <a:gd name="connsiteX12" fmla="*/ -316 w 1458101"/>
                <a:gd name="connsiteY12" fmla="*/ 273612 h 930545"/>
                <a:gd name="connsiteX13" fmla="*/ 14924 w 1458101"/>
                <a:gd name="connsiteY13" fmla="*/ 371624 h 930545"/>
                <a:gd name="connsiteX14" fmla="*/ 148274 w 1458101"/>
                <a:gd name="connsiteY14" fmla="*/ 509546 h 930545"/>
                <a:gd name="connsiteX15" fmla="*/ 273337 w 1458101"/>
                <a:gd name="connsiteY15" fmla="*/ 530310 h 930545"/>
                <a:gd name="connsiteX16" fmla="*/ 1097536 w 1458101"/>
                <a:gd name="connsiteY16" fmla="*/ 530310 h 930545"/>
                <a:gd name="connsiteX17" fmla="*/ 1146875 w 1458101"/>
                <a:gd name="connsiteY17" fmla="*/ 541169 h 930545"/>
                <a:gd name="connsiteX18" fmla="*/ 1180117 w 1458101"/>
                <a:gd name="connsiteY18" fmla="*/ 569744 h 930545"/>
                <a:gd name="connsiteX19" fmla="*/ 1199167 w 1458101"/>
                <a:gd name="connsiteY19" fmla="*/ 610225 h 930545"/>
                <a:gd name="connsiteX20" fmla="*/ 1205168 w 1458101"/>
                <a:gd name="connsiteY20" fmla="*/ 656421 h 930545"/>
                <a:gd name="connsiteX21" fmla="*/ 1205168 w 1458101"/>
                <a:gd name="connsiteY21" fmla="*/ 673471 h 930545"/>
                <a:gd name="connsiteX22" fmla="*/ 1199167 w 1458101"/>
                <a:gd name="connsiteY22" fmla="*/ 719763 h 930545"/>
                <a:gd name="connsiteX23" fmla="*/ 1180117 w 1458101"/>
                <a:gd name="connsiteY23" fmla="*/ 760244 h 930545"/>
                <a:gd name="connsiteX24" fmla="*/ 1146875 w 1458101"/>
                <a:gd name="connsiteY24" fmla="*/ 789295 h 930545"/>
                <a:gd name="connsiteX25" fmla="*/ 1097536 w 1458101"/>
                <a:gd name="connsiteY25" fmla="*/ 800059 h 930545"/>
                <a:gd name="connsiteX26" fmla="*/ -316 w 1458101"/>
                <a:gd name="connsiteY26" fmla="*/ 800059 h 930545"/>
                <a:gd name="connsiteX27" fmla="*/ -316 w 1458101"/>
                <a:gd name="connsiteY27" fmla="*/ 930265 h 930545"/>
                <a:gd name="connsiteX28" fmla="*/ 1184213 w 1458101"/>
                <a:gd name="connsiteY28" fmla="*/ 930265 h 930545"/>
                <a:gd name="connsiteX29" fmla="*/ 1309276 w 1458101"/>
                <a:gd name="connsiteY29" fmla="*/ 909406 h 930545"/>
                <a:gd name="connsiteX30" fmla="*/ 1394240 w 1458101"/>
                <a:gd name="connsiteY30" fmla="*/ 853399 h 930545"/>
                <a:gd name="connsiteX31" fmla="*/ 1442436 w 1458101"/>
                <a:gd name="connsiteY31" fmla="*/ 771579 h 930545"/>
                <a:gd name="connsiteX32" fmla="*/ 1457771 w 1458101"/>
                <a:gd name="connsiteY32" fmla="*/ 673471 h 930545"/>
                <a:gd name="connsiteX33" fmla="*/ 1457771 w 1458101"/>
                <a:gd name="connsiteY33" fmla="*/ 656421 h 930545"/>
                <a:gd name="connsiteX34" fmla="*/ 1442436 w 1458101"/>
                <a:gd name="connsiteY34" fmla="*/ 558409 h 930545"/>
                <a:gd name="connsiteX35" fmla="*/ 1309086 w 1458101"/>
                <a:gd name="connsiteY35" fmla="*/ 420487 h 930545"/>
                <a:gd name="connsiteX36" fmla="*/ 1184023 w 1458101"/>
                <a:gd name="connsiteY36" fmla="*/ 399723 h 930545"/>
                <a:gd name="connsiteX37" fmla="*/ 360206 w 1458101"/>
                <a:gd name="connsiteY37" fmla="*/ 399723 h 930545"/>
                <a:gd name="connsiteX38" fmla="*/ 310771 w 1458101"/>
                <a:gd name="connsiteY38" fmla="*/ 388959 h 930545"/>
                <a:gd name="connsiteX39" fmla="*/ 277623 w 1458101"/>
                <a:gd name="connsiteY39" fmla="*/ 360384 h 930545"/>
                <a:gd name="connsiteX40" fmla="*/ 258573 w 1458101"/>
                <a:gd name="connsiteY40" fmla="*/ 319808 h 930545"/>
                <a:gd name="connsiteX41" fmla="*/ 252573 w 1458101"/>
                <a:gd name="connsiteY41" fmla="*/ 273612 h 93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58101" h="930545">
                  <a:moveTo>
                    <a:pt x="252573" y="256562"/>
                  </a:moveTo>
                  <a:cubicBezTo>
                    <a:pt x="252554" y="240941"/>
                    <a:pt x="254573" y="225377"/>
                    <a:pt x="258573" y="210271"/>
                  </a:cubicBezTo>
                  <a:cubicBezTo>
                    <a:pt x="262393" y="195726"/>
                    <a:pt x="268851" y="182000"/>
                    <a:pt x="277623" y="169789"/>
                  </a:cubicBezTo>
                  <a:cubicBezTo>
                    <a:pt x="286215" y="157740"/>
                    <a:pt x="297588" y="147939"/>
                    <a:pt x="310771" y="141214"/>
                  </a:cubicBezTo>
                  <a:cubicBezTo>
                    <a:pt x="326154" y="133728"/>
                    <a:pt x="343099" y="130003"/>
                    <a:pt x="360206" y="130356"/>
                  </a:cubicBezTo>
                  <a:lnTo>
                    <a:pt x="1457771" y="130356"/>
                  </a:lnTo>
                  <a:lnTo>
                    <a:pt x="1457771" y="-137"/>
                  </a:lnTo>
                  <a:lnTo>
                    <a:pt x="273242" y="-137"/>
                  </a:lnTo>
                  <a:cubicBezTo>
                    <a:pt x="230628" y="-1070"/>
                    <a:pt x="188213" y="5969"/>
                    <a:pt x="148179" y="20628"/>
                  </a:cubicBezTo>
                  <a:cubicBezTo>
                    <a:pt x="115937" y="32534"/>
                    <a:pt x="86867" y="51698"/>
                    <a:pt x="63216" y="76635"/>
                  </a:cubicBezTo>
                  <a:cubicBezTo>
                    <a:pt x="41518" y="100228"/>
                    <a:pt x="25068" y="128146"/>
                    <a:pt x="14924" y="158550"/>
                  </a:cubicBezTo>
                  <a:cubicBezTo>
                    <a:pt x="4608" y="190192"/>
                    <a:pt x="-535" y="223282"/>
                    <a:pt x="-316" y="256562"/>
                  </a:cubicBezTo>
                  <a:lnTo>
                    <a:pt x="-316" y="273612"/>
                  </a:lnTo>
                  <a:cubicBezTo>
                    <a:pt x="-526" y="306892"/>
                    <a:pt x="4618" y="339982"/>
                    <a:pt x="14924" y="371624"/>
                  </a:cubicBezTo>
                  <a:cubicBezTo>
                    <a:pt x="35670" y="435737"/>
                    <a:pt x="84895" y="486648"/>
                    <a:pt x="148274" y="509546"/>
                  </a:cubicBezTo>
                  <a:cubicBezTo>
                    <a:pt x="188317" y="524157"/>
                    <a:pt x="230722" y="531196"/>
                    <a:pt x="273337" y="530310"/>
                  </a:cubicBezTo>
                  <a:lnTo>
                    <a:pt x="1097536" y="530310"/>
                  </a:lnTo>
                  <a:cubicBezTo>
                    <a:pt x="1114604" y="530015"/>
                    <a:pt x="1131502" y="533740"/>
                    <a:pt x="1146875" y="541169"/>
                  </a:cubicBezTo>
                  <a:cubicBezTo>
                    <a:pt x="1160048" y="547951"/>
                    <a:pt x="1171431" y="557743"/>
                    <a:pt x="1180117" y="569744"/>
                  </a:cubicBezTo>
                  <a:cubicBezTo>
                    <a:pt x="1188852" y="581974"/>
                    <a:pt x="1195310" y="595690"/>
                    <a:pt x="1199167" y="610225"/>
                  </a:cubicBezTo>
                  <a:cubicBezTo>
                    <a:pt x="1203121" y="625303"/>
                    <a:pt x="1205140" y="640829"/>
                    <a:pt x="1205168" y="656421"/>
                  </a:cubicBezTo>
                  <a:lnTo>
                    <a:pt x="1205168" y="673471"/>
                  </a:lnTo>
                  <a:cubicBezTo>
                    <a:pt x="1205140" y="689092"/>
                    <a:pt x="1203121" y="704647"/>
                    <a:pt x="1199167" y="719763"/>
                  </a:cubicBezTo>
                  <a:cubicBezTo>
                    <a:pt x="1195310" y="734298"/>
                    <a:pt x="1188852" y="748004"/>
                    <a:pt x="1180117" y="760244"/>
                  </a:cubicBezTo>
                  <a:cubicBezTo>
                    <a:pt x="1171488" y="772417"/>
                    <a:pt x="1160096" y="782371"/>
                    <a:pt x="1146875" y="789295"/>
                  </a:cubicBezTo>
                  <a:cubicBezTo>
                    <a:pt x="1131492" y="796696"/>
                    <a:pt x="1114595" y="800382"/>
                    <a:pt x="1097536" y="800059"/>
                  </a:cubicBezTo>
                  <a:lnTo>
                    <a:pt x="-316" y="800059"/>
                  </a:lnTo>
                  <a:lnTo>
                    <a:pt x="-316" y="930265"/>
                  </a:lnTo>
                  <a:lnTo>
                    <a:pt x="1184213" y="930265"/>
                  </a:lnTo>
                  <a:cubicBezTo>
                    <a:pt x="1226828" y="931065"/>
                    <a:pt x="1269224" y="923998"/>
                    <a:pt x="1309276" y="909406"/>
                  </a:cubicBezTo>
                  <a:cubicBezTo>
                    <a:pt x="1341518" y="897509"/>
                    <a:pt x="1370599" y="878344"/>
                    <a:pt x="1394240" y="853399"/>
                  </a:cubicBezTo>
                  <a:cubicBezTo>
                    <a:pt x="1415880" y="829824"/>
                    <a:pt x="1432301" y="801935"/>
                    <a:pt x="1442436" y="771579"/>
                  </a:cubicBezTo>
                  <a:cubicBezTo>
                    <a:pt x="1452818" y="739918"/>
                    <a:pt x="1458000" y="706790"/>
                    <a:pt x="1457771" y="673471"/>
                  </a:cubicBezTo>
                  <a:lnTo>
                    <a:pt x="1457771" y="656421"/>
                  </a:lnTo>
                  <a:cubicBezTo>
                    <a:pt x="1458000" y="623132"/>
                    <a:pt x="1452818" y="590032"/>
                    <a:pt x="1442436" y="558409"/>
                  </a:cubicBezTo>
                  <a:cubicBezTo>
                    <a:pt x="1421738" y="494268"/>
                    <a:pt x="1372494" y="443338"/>
                    <a:pt x="1309086" y="420487"/>
                  </a:cubicBezTo>
                  <a:cubicBezTo>
                    <a:pt x="1269043" y="405885"/>
                    <a:pt x="1226638" y="398846"/>
                    <a:pt x="1184023" y="399723"/>
                  </a:cubicBezTo>
                  <a:lnTo>
                    <a:pt x="360206" y="399723"/>
                  </a:lnTo>
                  <a:cubicBezTo>
                    <a:pt x="343108" y="400056"/>
                    <a:pt x="326182" y="396370"/>
                    <a:pt x="310771" y="388959"/>
                  </a:cubicBezTo>
                  <a:cubicBezTo>
                    <a:pt x="297588" y="382235"/>
                    <a:pt x="286215" y="372434"/>
                    <a:pt x="277623" y="360384"/>
                  </a:cubicBezTo>
                  <a:cubicBezTo>
                    <a:pt x="268861" y="348135"/>
                    <a:pt x="262403" y="334381"/>
                    <a:pt x="258573" y="319808"/>
                  </a:cubicBezTo>
                  <a:cubicBezTo>
                    <a:pt x="254573" y="304739"/>
                    <a:pt x="252554" y="289204"/>
                    <a:pt x="252573" y="27361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2" name="Grafik 5">
              <a:extLst>
                <a:ext uri="{FF2B5EF4-FFF2-40B4-BE49-F238E27FC236}">
                  <a16:creationId xmlns:a16="http://schemas.microsoft.com/office/drawing/2014/main" id="{C1DF8547-7F48-4613-8C31-1C4EDDB8885E}"/>
                </a:ext>
              </a:extLst>
            </p:cNvPr>
            <p:cNvSpPr/>
            <p:nvPr/>
          </p:nvSpPr>
          <p:spPr>
            <a:xfrm>
              <a:off x="8593399" y="5927933"/>
              <a:ext cx="192500" cy="205263"/>
            </a:xfrm>
            <a:custGeom>
              <a:avLst/>
              <a:gdLst>
                <a:gd name="connsiteX0" fmla="*/ 133503 w 192500"/>
                <a:gd name="connsiteY0" fmla="*/ 102080 h 205263"/>
                <a:gd name="connsiteX1" fmla="*/ 95880 w 192500"/>
                <a:gd name="connsiteY1" fmla="*/ 49406 h 205263"/>
                <a:gd name="connsiteX2" fmla="*/ 58351 w 192500"/>
                <a:gd name="connsiteY2" fmla="*/ 102080 h 205263"/>
                <a:gd name="connsiteX3" fmla="*/ 95880 w 192500"/>
                <a:gd name="connsiteY3" fmla="*/ 155420 h 205263"/>
                <a:gd name="connsiteX4" fmla="*/ 133503 w 192500"/>
                <a:gd name="connsiteY4" fmla="*/ 102080 h 205263"/>
                <a:gd name="connsiteX5" fmla="*/ 192178 w 192500"/>
                <a:gd name="connsiteY5" fmla="*/ 102080 h 205263"/>
                <a:gd name="connsiteX6" fmla="*/ 95975 w 192500"/>
                <a:gd name="connsiteY6" fmla="*/ 205045 h 205263"/>
                <a:gd name="connsiteX7" fmla="*/ -323 w 192500"/>
                <a:gd name="connsiteY7" fmla="*/ 102080 h 205263"/>
                <a:gd name="connsiteX8" fmla="*/ 95975 w 192500"/>
                <a:gd name="connsiteY8" fmla="*/ -219 h 205263"/>
                <a:gd name="connsiteX9" fmla="*/ 192178 w 192500"/>
                <a:gd name="connsiteY9" fmla="*/ 102080 h 20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500" h="205263">
                  <a:moveTo>
                    <a:pt x="133503" y="102080"/>
                  </a:moveTo>
                  <a:cubicBezTo>
                    <a:pt x="133503" y="76838"/>
                    <a:pt x="126170" y="49311"/>
                    <a:pt x="95880" y="49406"/>
                  </a:cubicBezTo>
                  <a:cubicBezTo>
                    <a:pt x="65590" y="49502"/>
                    <a:pt x="58351" y="76743"/>
                    <a:pt x="58351" y="102080"/>
                  </a:cubicBezTo>
                  <a:cubicBezTo>
                    <a:pt x="58351" y="127416"/>
                    <a:pt x="65972" y="155229"/>
                    <a:pt x="95880" y="155420"/>
                  </a:cubicBezTo>
                  <a:cubicBezTo>
                    <a:pt x="125788" y="155610"/>
                    <a:pt x="133503" y="127892"/>
                    <a:pt x="133503" y="102080"/>
                  </a:cubicBezTo>
                  <a:close/>
                  <a:moveTo>
                    <a:pt x="192178" y="102080"/>
                  </a:moveTo>
                  <a:cubicBezTo>
                    <a:pt x="192178" y="164183"/>
                    <a:pt x="155221" y="205045"/>
                    <a:pt x="95975" y="205045"/>
                  </a:cubicBezTo>
                  <a:cubicBezTo>
                    <a:pt x="31967" y="205045"/>
                    <a:pt x="-323" y="159135"/>
                    <a:pt x="-323" y="102080"/>
                  </a:cubicBezTo>
                  <a:cubicBezTo>
                    <a:pt x="-323" y="42263"/>
                    <a:pt x="34158" y="-219"/>
                    <a:pt x="95975" y="-219"/>
                  </a:cubicBezTo>
                  <a:cubicBezTo>
                    <a:pt x="157792" y="-219"/>
                    <a:pt x="192178" y="42167"/>
                    <a:pt x="192178" y="10208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3" name="Grafik 5">
              <a:extLst>
                <a:ext uri="{FF2B5EF4-FFF2-40B4-BE49-F238E27FC236}">
                  <a16:creationId xmlns:a16="http://schemas.microsoft.com/office/drawing/2014/main" id="{2F323D9D-096B-446F-8917-2705945CAE80}"/>
                </a:ext>
              </a:extLst>
            </p:cNvPr>
            <p:cNvSpPr/>
            <p:nvPr/>
          </p:nvSpPr>
          <p:spPr>
            <a:xfrm>
              <a:off x="7902360" y="5927933"/>
              <a:ext cx="192405" cy="205263"/>
            </a:xfrm>
            <a:custGeom>
              <a:avLst/>
              <a:gdLst>
                <a:gd name="connsiteX0" fmla="*/ 133408 w 192405"/>
                <a:gd name="connsiteY0" fmla="*/ 102080 h 205263"/>
                <a:gd name="connsiteX1" fmla="*/ 95308 w 192405"/>
                <a:gd name="connsiteY1" fmla="*/ 49406 h 205263"/>
                <a:gd name="connsiteX2" fmla="*/ 57780 w 192405"/>
                <a:gd name="connsiteY2" fmla="*/ 102080 h 205263"/>
                <a:gd name="connsiteX3" fmla="*/ 95308 w 192405"/>
                <a:gd name="connsiteY3" fmla="*/ 155420 h 205263"/>
                <a:gd name="connsiteX4" fmla="*/ 133408 w 192405"/>
                <a:gd name="connsiteY4" fmla="*/ 102080 h 205263"/>
                <a:gd name="connsiteX5" fmla="*/ 192082 w 192405"/>
                <a:gd name="connsiteY5" fmla="*/ 102080 h 205263"/>
                <a:gd name="connsiteX6" fmla="*/ 95880 w 192405"/>
                <a:gd name="connsiteY6" fmla="*/ 205045 h 205263"/>
                <a:gd name="connsiteX7" fmla="*/ -323 w 192405"/>
                <a:gd name="connsiteY7" fmla="*/ 102080 h 205263"/>
                <a:gd name="connsiteX8" fmla="*/ 95880 w 192405"/>
                <a:gd name="connsiteY8" fmla="*/ -219 h 205263"/>
                <a:gd name="connsiteX9" fmla="*/ 192082 w 192405"/>
                <a:gd name="connsiteY9" fmla="*/ 102080 h 20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405" h="205263">
                  <a:moveTo>
                    <a:pt x="133408" y="102080"/>
                  </a:moveTo>
                  <a:cubicBezTo>
                    <a:pt x="133408" y="76838"/>
                    <a:pt x="126074" y="49311"/>
                    <a:pt x="95308" y="49406"/>
                  </a:cubicBezTo>
                  <a:cubicBezTo>
                    <a:pt x="64543" y="49502"/>
                    <a:pt x="57780" y="76743"/>
                    <a:pt x="57780" y="102080"/>
                  </a:cubicBezTo>
                  <a:cubicBezTo>
                    <a:pt x="57780" y="127416"/>
                    <a:pt x="65495" y="155229"/>
                    <a:pt x="95308" y="155420"/>
                  </a:cubicBezTo>
                  <a:cubicBezTo>
                    <a:pt x="125121" y="155610"/>
                    <a:pt x="133408" y="127892"/>
                    <a:pt x="133408" y="102080"/>
                  </a:cubicBezTo>
                  <a:close/>
                  <a:moveTo>
                    <a:pt x="192082" y="102080"/>
                  </a:moveTo>
                  <a:cubicBezTo>
                    <a:pt x="192082" y="164183"/>
                    <a:pt x="155125" y="205045"/>
                    <a:pt x="95880" y="205045"/>
                  </a:cubicBezTo>
                  <a:cubicBezTo>
                    <a:pt x="31967" y="205045"/>
                    <a:pt x="-323" y="159135"/>
                    <a:pt x="-323" y="102080"/>
                  </a:cubicBezTo>
                  <a:cubicBezTo>
                    <a:pt x="-323" y="42263"/>
                    <a:pt x="34062" y="-219"/>
                    <a:pt x="95880" y="-219"/>
                  </a:cubicBezTo>
                  <a:cubicBezTo>
                    <a:pt x="157697" y="-219"/>
                    <a:pt x="192177" y="42167"/>
                    <a:pt x="192082" y="10208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4" name="Grafik 5">
              <a:extLst>
                <a:ext uri="{FF2B5EF4-FFF2-40B4-BE49-F238E27FC236}">
                  <a16:creationId xmlns:a16="http://schemas.microsoft.com/office/drawing/2014/main" id="{17600CAA-8970-4BD7-9271-CCE0F7DFBDF4}"/>
                </a:ext>
              </a:extLst>
            </p:cNvPr>
            <p:cNvSpPr/>
            <p:nvPr/>
          </p:nvSpPr>
          <p:spPr>
            <a:xfrm>
              <a:off x="6559949" y="5927918"/>
              <a:ext cx="188370" cy="266631"/>
            </a:xfrm>
            <a:custGeom>
              <a:avLst/>
              <a:gdLst>
                <a:gd name="connsiteX0" fmla="*/ 68501 w 188370"/>
                <a:gd name="connsiteY0" fmla="*/ 61137 h 266631"/>
                <a:gd name="connsiteX1" fmla="*/ 58404 w 188370"/>
                <a:gd name="connsiteY1" fmla="*/ 98380 h 266631"/>
                <a:gd name="connsiteX2" fmla="*/ 68501 w 188370"/>
                <a:gd name="connsiteY2" fmla="*/ 136004 h 266631"/>
                <a:gd name="connsiteX3" fmla="*/ 93266 w 188370"/>
                <a:gd name="connsiteY3" fmla="*/ 147720 h 266631"/>
                <a:gd name="connsiteX4" fmla="*/ 120031 w 188370"/>
                <a:gd name="connsiteY4" fmla="*/ 135147 h 266631"/>
                <a:gd name="connsiteX5" fmla="*/ 120031 w 188370"/>
                <a:gd name="connsiteY5" fmla="*/ 61899 h 266631"/>
                <a:gd name="connsiteX6" fmla="*/ 93171 w 188370"/>
                <a:gd name="connsiteY6" fmla="*/ 49422 h 266631"/>
                <a:gd name="connsiteX7" fmla="*/ 68501 w 188370"/>
                <a:gd name="connsiteY7" fmla="*/ 61137 h 266631"/>
                <a:gd name="connsiteX8" fmla="*/ 119555 w 188370"/>
                <a:gd name="connsiteY8" fmla="*/ 206775 h 266631"/>
                <a:gd name="connsiteX9" fmla="*/ 129746 w 188370"/>
                <a:gd name="connsiteY9" fmla="*/ 184867 h 266631"/>
                <a:gd name="connsiteX10" fmla="*/ 121841 w 188370"/>
                <a:gd name="connsiteY10" fmla="*/ 189439 h 266631"/>
                <a:gd name="connsiteX11" fmla="*/ 86599 w 188370"/>
                <a:gd name="connsiteY11" fmla="*/ 197345 h 266631"/>
                <a:gd name="connsiteX12" fmla="*/ 23543 w 188370"/>
                <a:gd name="connsiteY12" fmla="*/ 169437 h 266631"/>
                <a:gd name="connsiteX13" fmla="*/ -269 w 188370"/>
                <a:gd name="connsiteY13" fmla="*/ 98380 h 266631"/>
                <a:gd name="connsiteX14" fmla="*/ 23733 w 188370"/>
                <a:gd name="connsiteY14" fmla="*/ 27895 h 266631"/>
                <a:gd name="connsiteX15" fmla="*/ 86599 w 188370"/>
                <a:gd name="connsiteY15" fmla="*/ -204 h 266631"/>
                <a:gd name="connsiteX16" fmla="*/ 121555 w 188370"/>
                <a:gd name="connsiteY16" fmla="*/ 7321 h 266631"/>
                <a:gd name="connsiteX17" fmla="*/ 129175 w 188370"/>
                <a:gd name="connsiteY17" fmla="*/ 11607 h 266631"/>
                <a:gd name="connsiteX18" fmla="*/ 129175 w 188370"/>
                <a:gd name="connsiteY18" fmla="*/ 3797 h 266631"/>
                <a:gd name="connsiteX19" fmla="*/ 187945 w 188370"/>
                <a:gd name="connsiteY19" fmla="*/ 3797 h 266631"/>
                <a:gd name="connsiteX20" fmla="*/ 187945 w 188370"/>
                <a:gd name="connsiteY20" fmla="*/ 177438 h 266631"/>
                <a:gd name="connsiteX21" fmla="*/ 160893 w 188370"/>
                <a:gd name="connsiteY21" fmla="*/ 242684 h 266631"/>
                <a:gd name="connsiteX22" fmla="*/ 87646 w 188370"/>
                <a:gd name="connsiteY22" fmla="*/ 266306 h 266631"/>
                <a:gd name="connsiteX23" fmla="*/ 25162 w 188370"/>
                <a:gd name="connsiteY23" fmla="*/ 266306 h 266631"/>
                <a:gd name="connsiteX24" fmla="*/ 25162 w 188370"/>
                <a:gd name="connsiteY24" fmla="*/ 216681 h 266631"/>
                <a:gd name="connsiteX25" fmla="*/ 84598 w 188370"/>
                <a:gd name="connsiteY25" fmla="*/ 216681 h 266631"/>
                <a:gd name="connsiteX26" fmla="*/ 119555 w 188370"/>
                <a:gd name="connsiteY26" fmla="*/ 206775 h 26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8370" h="266631">
                  <a:moveTo>
                    <a:pt x="68501" y="61137"/>
                  </a:moveTo>
                  <a:cubicBezTo>
                    <a:pt x="61252" y="72158"/>
                    <a:pt x="57709" y="85207"/>
                    <a:pt x="58404" y="98380"/>
                  </a:cubicBezTo>
                  <a:cubicBezTo>
                    <a:pt x="57671" y="111677"/>
                    <a:pt x="61214" y="124860"/>
                    <a:pt x="68501" y="136004"/>
                  </a:cubicBezTo>
                  <a:cubicBezTo>
                    <a:pt x="74359" y="143710"/>
                    <a:pt x="83598" y="148081"/>
                    <a:pt x="93266" y="147720"/>
                  </a:cubicBezTo>
                  <a:cubicBezTo>
                    <a:pt x="103667" y="147958"/>
                    <a:pt x="113573" y="143309"/>
                    <a:pt x="120031" y="135147"/>
                  </a:cubicBezTo>
                  <a:cubicBezTo>
                    <a:pt x="134824" y="112972"/>
                    <a:pt x="134824" y="84073"/>
                    <a:pt x="120031" y="61899"/>
                  </a:cubicBezTo>
                  <a:cubicBezTo>
                    <a:pt x="113516" y="53774"/>
                    <a:pt x="103581" y="49155"/>
                    <a:pt x="93171" y="49422"/>
                  </a:cubicBezTo>
                  <a:cubicBezTo>
                    <a:pt x="83541" y="49107"/>
                    <a:pt x="74349" y="53470"/>
                    <a:pt x="68501" y="61137"/>
                  </a:cubicBezTo>
                  <a:close/>
                  <a:moveTo>
                    <a:pt x="119555" y="206775"/>
                  </a:moveTo>
                  <a:cubicBezTo>
                    <a:pt x="125613" y="201031"/>
                    <a:pt x="129251" y="193201"/>
                    <a:pt x="129746" y="184867"/>
                  </a:cubicBezTo>
                  <a:cubicBezTo>
                    <a:pt x="127232" y="186591"/>
                    <a:pt x="124594" y="188125"/>
                    <a:pt x="121841" y="189439"/>
                  </a:cubicBezTo>
                  <a:cubicBezTo>
                    <a:pt x="110859" y="194754"/>
                    <a:pt x="98800" y="197459"/>
                    <a:pt x="86599" y="197345"/>
                  </a:cubicBezTo>
                  <a:cubicBezTo>
                    <a:pt x="62462" y="197945"/>
                    <a:pt x="39326" y="187706"/>
                    <a:pt x="23543" y="169437"/>
                  </a:cubicBezTo>
                  <a:cubicBezTo>
                    <a:pt x="7370" y="149358"/>
                    <a:pt x="-1079" y="124145"/>
                    <a:pt x="-269" y="98380"/>
                  </a:cubicBezTo>
                  <a:cubicBezTo>
                    <a:pt x="-1032" y="72758"/>
                    <a:pt x="7493" y="47726"/>
                    <a:pt x="23733" y="27895"/>
                  </a:cubicBezTo>
                  <a:cubicBezTo>
                    <a:pt x="39450" y="9626"/>
                    <a:pt x="62500" y="-670"/>
                    <a:pt x="86599" y="-204"/>
                  </a:cubicBezTo>
                  <a:cubicBezTo>
                    <a:pt x="98666" y="-375"/>
                    <a:pt x="110620" y="2206"/>
                    <a:pt x="121555" y="7321"/>
                  </a:cubicBezTo>
                  <a:cubicBezTo>
                    <a:pt x="124203" y="8540"/>
                    <a:pt x="126756" y="9979"/>
                    <a:pt x="129175" y="11607"/>
                  </a:cubicBezTo>
                  <a:lnTo>
                    <a:pt x="129175" y="3797"/>
                  </a:lnTo>
                  <a:lnTo>
                    <a:pt x="187945" y="3797"/>
                  </a:lnTo>
                  <a:lnTo>
                    <a:pt x="187945" y="177438"/>
                  </a:lnTo>
                  <a:cubicBezTo>
                    <a:pt x="189182" y="202145"/>
                    <a:pt x="179248" y="226101"/>
                    <a:pt x="160893" y="242684"/>
                  </a:cubicBezTo>
                  <a:cubicBezTo>
                    <a:pt x="140101" y="259086"/>
                    <a:pt x="114107" y="267468"/>
                    <a:pt x="87646" y="266306"/>
                  </a:cubicBezTo>
                  <a:lnTo>
                    <a:pt x="25162" y="266306"/>
                  </a:lnTo>
                  <a:lnTo>
                    <a:pt x="25162" y="216681"/>
                  </a:lnTo>
                  <a:lnTo>
                    <a:pt x="84598" y="216681"/>
                  </a:lnTo>
                  <a:cubicBezTo>
                    <a:pt x="97067" y="217700"/>
                    <a:pt x="109477" y="214175"/>
                    <a:pt x="119555" y="2067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5" name="Grafik 5">
              <a:extLst>
                <a:ext uri="{FF2B5EF4-FFF2-40B4-BE49-F238E27FC236}">
                  <a16:creationId xmlns:a16="http://schemas.microsoft.com/office/drawing/2014/main" id="{C264870B-D00E-4395-9B03-BD3469B67422}"/>
                </a:ext>
              </a:extLst>
            </p:cNvPr>
            <p:cNvSpPr/>
            <p:nvPr/>
          </p:nvSpPr>
          <p:spPr>
            <a:xfrm>
              <a:off x="6083799" y="5931934"/>
              <a:ext cx="177594" cy="201027"/>
            </a:xfrm>
            <a:custGeom>
              <a:avLst/>
              <a:gdLst>
                <a:gd name="connsiteX0" fmla="*/ 176891 w 177594"/>
                <a:gd name="connsiteY0" fmla="*/ 10068 h 201027"/>
                <a:gd name="connsiteX1" fmla="*/ 176891 w 177594"/>
                <a:gd name="connsiteY1" fmla="*/ 197044 h 201027"/>
                <a:gd name="connsiteX2" fmla="*/ 119169 w 177594"/>
                <a:gd name="connsiteY2" fmla="*/ 197044 h 201027"/>
                <a:gd name="connsiteX3" fmla="*/ 119169 w 177594"/>
                <a:gd name="connsiteY3" fmla="*/ 187519 h 201027"/>
                <a:gd name="connsiteX4" fmla="*/ 112121 w 177594"/>
                <a:gd name="connsiteY4" fmla="*/ 191901 h 201027"/>
                <a:gd name="connsiteX5" fmla="*/ 74592 w 177594"/>
                <a:gd name="connsiteY5" fmla="*/ 200759 h 201027"/>
                <a:gd name="connsiteX6" fmla="*/ 20300 w 177594"/>
                <a:gd name="connsiteY6" fmla="*/ 180375 h 201027"/>
                <a:gd name="connsiteX7" fmla="*/ -274 w 177594"/>
                <a:gd name="connsiteY7" fmla="*/ 126273 h 201027"/>
                <a:gd name="connsiteX8" fmla="*/ -274 w 177594"/>
                <a:gd name="connsiteY8" fmla="*/ -219 h 201027"/>
                <a:gd name="connsiteX9" fmla="*/ 58495 w 177594"/>
                <a:gd name="connsiteY9" fmla="*/ -219 h 201027"/>
                <a:gd name="connsiteX10" fmla="*/ 58495 w 177594"/>
                <a:gd name="connsiteY10" fmla="*/ 112176 h 201027"/>
                <a:gd name="connsiteX11" fmla="*/ 64496 w 177594"/>
                <a:gd name="connsiteY11" fmla="*/ 142656 h 201027"/>
                <a:gd name="connsiteX12" fmla="*/ 85641 w 177594"/>
                <a:gd name="connsiteY12" fmla="*/ 151419 h 201027"/>
                <a:gd name="connsiteX13" fmla="*/ 109073 w 177594"/>
                <a:gd name="connsiteY13" fmla="*/ 140370 h 201027"/>
                <a:gd name="connsiteX14" fmla="*/ 118598 w 177594"/>
                <a:gd name="connsiteY14" fmla="*/ 107795 h 201027"/>
                <a:gd name="connsiteX15" fmla="*/ 118598 w 177594"/>
                <a:gd name="connsiteY15" fmla="*/ -219 h 201027"/>
                <a:gd name="connsiteX16" fmla="*/ 177271 w 177594"/>
                <a:gd name="connsiteY16" fmla="*/ -219 h 20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7594" h="201027">
                  <a:moveTo>
                    <a:pt x="176891" y="10068"/>
                  </a:moveTo>
                  <a:lnTo>
                    <a:pt x="176891" y="197044"/>
                  </a:lnTo>
                  <a:lnTo>
                    <a:pt x="119169" y="197044"/>
                  </a:lnTo>
                  <a:lnTo>
                    <a:pt x="119169" y="187519"/>
                  </a:lnTo>
                  <a:cubicBezTo>
                    <a:pt x="116931" y="189148"/>
                    <a:pt x="114568" y="190605"/>
                    <a:pt x="112121" y="191901"/>
                  </a:cubicBezTo>
                  <a:cubicBezTo>
                    <a:pt x="100510" y="197844"/>
                    <a:pt x="87631" y="200883"/>
                    <a:pt x="74592" y="200759"/>
                  </a:cubicBezTo>
                  <a:cubicBezTo>
                    <a:pt x="54495" y="201492"/>
                    <a:pt x="34949" y="194148"/>
                    <a:pt x="20300" y="180375"/>
                  </a:cubicBezTo>
                  <a:cubicBezTo>
                    <a:pt x="6421" y="165859"/>
                    <a:pt x="-999" y="146343"/>
                    <a:pt x="-274" y="126273"/>
                  </a:cubicBezTo>
                  <a:lnTo>
                    <a:pt x="-274" y="-219"/>
                  </a:lnTo>
                  <a:lnTo>
                    <a:pt x="58495" y="-219"/>
                  </a:lnTo>
                  <a:lnTo>
                    <a:pt x="58495" y="112176"/>
                  </a:lnTo>
                  <a:cubicBezTo>
                    <a:pt x="57647" y="122692"/>
                    <a:pt x="59723" y="133246"/>
                    <a:pt x="64496" y="142656"/>
                  </a:cubicBezTo>
                  <a:cubicBezTo>
                    <a:pt x="69524" y="149067"/>
                    <a:pt x="77545" y="152391"/>
                    <a:pt x="85641" y="151419"/>
                  </a:cubicBezTo>
                  <a:cubicBezTo>
                    <a:pt x="94747" y="151581"/>
                    <a:pt x="103405" y="147504"/>
                    <a:pt x="109073" y="140370"/>
                  </a:cubicBezTo>
                  <a:cubicBezTo>
                    <a:pt x="115845" y="130903"/>
                    <a:pt x="119207" y="119415"/>
                    <a:pt x="118598" y="107795"/>
                  </a:cubicBezTo>
                  <a:lnTo>
                    <a:pt x="118598" y="-219"/>
                  </a:lnTo>
                  <a:lnTo>
                    <a:pt x="177271" y="-21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6" name="Grafik 5">
              <a:extLst>
                <a:ext uri="{FF2B5EF4-FFF2-40B4-BE49-F238E27FC236}">
                  <a16:creationId xmlns:a16="http://schemas.microsoft.com/office/drawing/2014/main" id="{9C4AB88C-B1DA-491C-8995-7DD0AD8FDEEE}"/>
                </a:ext>
              </a:extLst>
            </p:cNvPr>
            <p:cNvSpPr/>
            <p:nvPr/>
          </p:nvSpPr>
          <p:spPr>
            <a:xfrm>
              <a:off x="5766760" y="5932029"/>
              <a:ext cx="151352" cy="197017"/>
            </a:xfrm>
            <a:custGeom>
              <a:avLst/>
              <a:gdLst>
                <a:gd name="connsiteX0" fmla="*/ 151030 w 151352"/>
                <a:gd name="connsiteY0" fmla="*/ 133703 h 197017"/>
                <a:gd name="connsiteX1" fmla="*/ 85555 w 151352"/>
                <a:gd name="connsiteY1" fmla="*/ 196787 h 197017"/>
                <a:gd name="connsiteX2" fmla="*/ 84355 w 151352"/>
                <a:gd name="connsiteY2" fmla="*/ 196758 h 197017"/>
                <a:gd name="connsiteX3" fmla="*/ 1201 w 151352"/>
                <a:gd name="connsiteY3" fmla="*/ 196758 h 197017"/>
                <a:gd name="connsiteX4" fmla="*/ 1201 w 151352"/>
                <a:gd name="connsiteY4" fmla="*/ 149133 h 197017"/>
                <a:gd name="connsiteX5" fmla="*/ 71496 w 151352"/>
                <a:gd name="connsiteY5" fmla="*/ 149133 h 197017"/>
                <a:gd name="connsiteX6" fmla="*/ 92356 w 151352"/>
                <a:gd name="connsiteY6" fmla="*/ 133608 h 197017"/>
                <a:gd name="connsiteX7" fmla="*/ 71496 w 151352"/>
                <a:gd name="connsiteY7" fmla="*/ 118653 h 197017"/>
                <a:gd name="connsiteX8" fmla="*/ -323 w 151352"/>
                <a:gd name="connsiteY8" fmla="*/ 59408 h 197017"/>
                <a:gd name="connsiteX9" fmla="*/ 63305 w 151352"/>
                <a:gd name="connsiteY9" fmla="*/ -219 h 197017"/>
                <a:gd name="connsiteX10" fmla="*/ 137409 w 151352"/>
                <a:gd name="connsiteY10" fmla="*/ -219 h 197017"/>
                <a:gd name="connsiteX11" fmla="*/ 137409 w 151352"/>
                <a:gd name="connsiteY11" fmla="*/ 45787 h 197017"/>
                <a:gd name="connsiteX12" fmla="*/ 76258 w 151352"/>
                <a:gd name="connsiteY12" fmla="*/ 45787 h 197017"/>
                <a:gd name="connsiteX13" fmla="*/ 58256 w 151352"/>
                <a:gd name="connsiteY13" fmla="*/ 59408 h 197017"/>
                <a:gd name="connsiteX14" fmla="*/ 76258 w 151352"/>
                <a:gd name="connsiteY14" fmla="*/ 71981 h 197017"/>
                <a:gd name="connsiteX15" fmla="*/ 151030 w 151352"/>
                <a:gd name="connsiteY15" fmla="*/ 133703 h 19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352" h="197017">
                  <a:moveTo>
                    <a:pt x="151030" y="133703"/>
                  </a:moveTo>
                  <a:cubicBezTo>
                    <a:pt x="150372" y="169202"/>
                    <a:pt x="121054" y="197453"/>
                    <a:pt x="85555" y="196787"/>
                  </a:cubicBezTo>
                  <a:cubicBezTo>
                    <a:pt x="85155" y="196787"/>
                    <a:pt x="84755" y="196777"/>
                    <a:pt x="84355" y="196758"/>
                  </a:cubicBezTo>
                  <a:lnTo>
                    <a:pt x="1201" y="196758"/>
                  </a:lnTo>
                  <a:lnTo>
                    <a:pt x="1201" y="149133"/>
                  </a:lnTo>
                  <a:lnTo>
                    <a:pt x="71496" y="149133"/>
                  </a:lnTo>
                  <a:cubicBezTo>
                    <a:pt x="85498" y="149133"/>
                    <a:pt x="92356" y="141894"/>
                    <a:pt x="92356" y="133608"/>
                  </a:cubicBezTo>
                  <a:cubicBezTo>
                    <a:pt x="92356" y="125321"/>
                    <a:pt x="85498" y="119129"/>
                    <a:pt x="71496" y="118653"/>
                  </a:cubicBezTo>
                  <a:cubicBezTo>
                    <a:pt x="34539" y="117510"/>
                    <a:pt x="-323" y="99603"/>
                    <a:pt x="-323" y="59408"/>
                  </a:cubicBezTo>
                  <a:cubicBezTo>
                    <a:pt x="-323" y="26546"/>
                    <a:pt x="30443" y="-219"/>
                    <a:pt x="63305" y="-219"/>
                  </a:cubicBezTo>
                  <a:lnTo>
                    <a:pt x="137409" y="-219"/>
                  </a:lnTo>
                  <a:lnTo>
                    <a:pt x="137409" y="45787"/>
                  </a:lnTo>
                  <a:lnTo>
                    <a:pt x="76258" y="45787"/>
                  </a:lnTo>
                  <a:cubicBezTo>
                    <a:pt x="62257" y="45787"/>
                    <a:pt x="58256" y="52740"/>
                    <a:pt x="58256" y="59408"/>
                  </a:cubicBezTo>
                  <a:cubicBezTo>
                    <a:pt x="58256" y="66075"/>
                    <a:pt x="62257" y="71504"/>
                    <a:pt x="76258" y="71981"/>
                  </a:cubicBezTo>
                  <a:cubicBezTo>
                    <a:pt x="114835" y="73409"/>
                    <a:pt x="151030" y="95698"/>
                    <a:pt x="151030" y="13370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7" name="Grafik 5">
              <a:extLst>
                <a:ext uri="{FF2B5EF4-FFF2-40B4-BE49-F238E27FC236}">
                  <a16:creationId xmlns:a16="http://schemas.microsoft.com/office/drawing/2014/main" id="{9F97982C-CD9B-45D8-AFC0-D5F264B00DF8}"/>
                </a:ext>
              </a:extLst>
            </p:cNvPr>
            <p:cNvSpPr/>
            <p:nvPr/>
          </p:nvSpPr>
          <p:spPr>
            <a:xfrm>
              <a:off x="6415889" y="5885928"/>
              <a:ext cx="127063" cy="243077"/>
            </a:xfrm>
            <a:custGeom>
              <a:avLst/>
              <a:gdLst>
                <a:gd name="connsiteX0" fmla="*/ 29205 w 127063"/>
                <a:gd name="connsiteY0" fmla="*/ 91793 h 243077"/>
                <a:gd name="connsiteX1" fmla="*/ -323 w 127063"/>
                <a:gd name="connsiteY1" fmla="*/ 91793 h 243077"/>
                <a:gd name="connsiteX2" fmla="*/ -323 w 127063"/>
                <a:gd name="connsiteY2" fmla="*/ 45787 h 243077"/>
                <a:gd name="connsiteX3" fmla="*/ 29205 w 127063"/>
                <a:gd name="connsiteY3" fmla="*/ 45787 h 243077"/>
                <a:gd name="connsiteX4" fmla="*/ 29205 w 127063"/>
                <a:gd name="connsiteY4" fmla="*/ -219 h 243077"/>
                <a:gd name="connsiteX5" fmla="*/ 87879 w 127063"/>
                <a:gd name="connsiteY5" fmla="*/ -219 h 243077"/>
                <a:gd name="connsiteX6" fmla="*/ 87879 w 127063"/>
                <a:gd name="connsiteY6" fmla="*/ 45596 h 243077"/>
                <a:gd name="connsiteX7" fmla="*/ 126741 w 127063"/>
                <a:gd name="connsiteY7" fmla="*/ 45596 h 243077"/>
                <a:gd name="connsiteX8" fmla="*/ 126741 w 127063"/>
                <a:gd name="connsiteY8" fmla="*/ 91602 h 243077"/>
                <a:gd name="connsiteX9" fmla="*/ 87879 w 127063"/>
                <a:gd name="connsiteY9" fmla="*/ 91602 h 243077"/>
                <a:gd name="connsiteX10" fmla="*/ 87879 w 127063"/>
                <a:gd name="connsiteY10" fmla="*/ 174184 h 243077"/>
                <a:gd name="connsiteX11" fmla="*/ 102928 w 127063"/>
                <a:gd name="connsiteY11" fmla="*/ 195234 h 243077"/>
                <a:gd name="connsiteX12" fmla="*/ 126360 w 127063"/>
                <a:gd name="connsiteY12" fmla="*/ 195234 h 243077"/>
                <a:gd name="connsiteX13" fmla="*/ 126360 w 127063"/>
                <a:gd name="connsiteY13" fmla="*/ 242859 h 243077"/>
                <a:gd name="connsiteX14" fmla="*/ 87307 w 127063"/>
                <a:gd name="connsiteY14" fmla="*/ 242859 h 243077"/>
                <a:gd name="connsiteX15" fmla="*/ 34443 w 127063"/>
                <a:gd name="connsiteY15" fmla="*/ 216665 h 243077"/>
                <a:gd name="connsiteX16" fmla="*/ 29205 w 127063"/>
                <a:gd name="connsiteY16" fmla="*/ 182376 h 2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7063" h="243077">
                  <a:moveTo>
                    <a:pt x="29205" y="91793"/>
                  </a:moveTo>
                  <a:lnTo>
                    <a:pt x="-323" y="91793"/>
                  </a:lnTo>
                  <a:lnTo>
                    <a:pt x="-323" y="45787"/>
                  </a:lnTo>
                  <a:lnTo>
                    <a:pt x="29205" y="45787"/>
                  </a:lnTo>
                  <a:lnTo>
                    <a:pt x="29205" y="-219"/>
                  </a:lnTo>
                  <a:lnTo>
                    <a:pt x="87879" y="-219"/>
                  </a:lnTo>
                  <a:lnTo>
                    <a:pt x="87879" y="45596"/>
                  </a:lnTo>
                  <a:lnTo>
                    <a:pt x="126741" y="45596"/>
                  </a:lnTo>
                  <a:lnTo>
                    <a:pt x="126741" y="91602"/>
                  </a:lnTo>
                  <a:lnTo>
                    <a:pt x="87879" y="91602"/>
                  </a:lnTo>
                  <a:lnTo>
                    <a:pt x="87879" y="174184"/>
                  </a:lnTo>
                  <a:cubicBezTo>
                    <a:pt x="87879" y="191615"/>
                    <a:pt x="86355" y="195901"/>
                    <a:pt x="102928" y="195234"/>
                  </a:cubicBezTo>
                  <a:lnTo>
                    <a:pt x="126360" y="195234"/>
                  </a:lnTo>
                  <a:lnTo>
                    <a:pt x="126360" y="242859"/>
                  </a:lnTo>
                  <a:lnTo>
                    <a:pt x="87307" y="242859"/>
                  </a:lnTo>
                  <a:cubicBezTo>
                    <a:pt x="64923" y="242859"/>
                    <a:pt x="43778" y="238001"/>
                    <a:pt x="34443" y="216665"/>
                  </a:cubicBezTo>
                  <a:cubicBezTo>
                    <a:pt x="30424" y="205702"/>
                    <a:pt x="28643" y="194043"/>
                    <a:pt x="29205" y="18237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8" name="Grafik 5">
              <a:extLst>
                <a:ext uri="{FF2B5EF4-FFF2-40B4-BE49-F238E27FC236}">
                  <a16:creationId xmlns:a16="http://schemas.microsoft.com/office/drawing/2014/main" id="{01ACACB0-02EA-4093-8CBC-0A283918C776}"/>
                </a:ext>
              </a:extLst>
            </p:cNvPr>
            <p:cNvSpPr/>
            <p:nvPr/>
          </p:nvSpPr>
          <p:spPr>
            <a:xfrm>
              <a:off x="6993199" y="5931934"/>
              <a:ext cx="114871" cy="197262"/>
            </a:xfrm>
            <a:custGeom>
              <a:avLst/>
              <a:gdLst>
                <a:gd name="connsiteX0" fmla="*/ -323 w 114871"/>
                <a:gd name="connsiteY0" fmla="*/ 74362 h 197262"/>
                <a:gd name="connsiteX1" fmla="*/ 84164 w 114871"/>
                <a:gd name="connsiteY1" fmla="*/ -219 h 197262"/>
                <a:gd name="connsiteX2" fmla="*/ 114549 w 114871"/>
                <a:gd name="connsiteY2" fmla="*/ -219 h 197262"/>
                <a:gd name="connsiteX3" fmla="*/ 114549 w 114871"/>
                <a:gd name="connsiteY3" fmla="*/ 45787 h 197262"/>
                <a:gd name="connsiteX4" fmla="*/ 86545 w 114871"/>
                <a:gd name="connsiteY4" fmla="*/ 45787 h 197262"/>
                <a:gd name="connsiteX5" fmla="*/ 57970 w 114871"/>
                <a:gd name="connsiteY5" fmla="*/ 79410 h 197262"/>
                <a:gd name="connsiteX6" fmla="*/ 57970 w 114871"/>
                <a:gd name="connsiteY6" fmla="*/ 197044 h 197262"/>
                <a:gd name="connsiteX7" fmla="*/ -323 w 114871"/>
                <a:gd name="connsiteY7" fmla="*/ 197044 h 19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871" h="197262">
                  <a:moveTo>
                    <a:pt x="-323" y="74362"/>
                  </a:moveTo>
                  <a:cubicBezTo>
                    <a:pt x="-323" y="29594"/>
                    <a:pt x="27109" y="-219"/>
                    <a:pt x="84164" y="-219"/>
                  </a:cubicBezTo>
                  <a:lnTo>
                    <a:pt x="114549" y="-219"/>
                  </a:lnTo>
                  <a:lnTo>
                    <a:pt x="114549" y="45787"/>
                  </a:lnTo>
                  <a:lnTo>
                    <a:pt x="86545" y="45787"/>
                  </a:lnTo>
                  <a:cubicBezTo>
                    <a:pt x="65781" y="45787"/>
                    <a:pt x="58542" y="61979"/>
                    <a:pt x="57970" y="79410"/>
                  </a:cubicBezTo>
                  <a:lnTo>
                    <a:pt x="57970" y="197044"/>
                  </a:lnTo>
                  <a:lnTo>
                    <a:pt x="-323" y="19704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09" name="Grafik 5">
              <a:extLst>
                <a:ext uri="{FF2B5EF4-FFF2-40B4-BE49-F238E27FC236}">
                  <a16:creationId xmlns:a16="http://schemas.microsoft.com/office/drawing/2014/main" id="{BA6C3F1F-9547-46A7-8942-B727039405E7}"/>
                </a:ext>
              </a:extLst>
            </p:cNvPr>
            <p:cNvSpPr/>
            <p:nvPr/>
          </p:nvSpPr>
          <p:spPr>
            <a:xfrm>
              <a:off x="6281777" y="5885928"/>
              <a:ext cx="126968" cy="243077"/>
            </a:xfrm>
            <a:custGeom>
              <a:avLst/>
              <a:gdLst>
                <a:gd name="connsiteX0" fmla="*/ 29110 w 126968"/>
                <a:gd name="connsiteY0" fmla="*/ 91793 h 243077"/>
                <a:gd name="connsiteX1" fmla="*/ -323 w 126968"/>
                <a:gd name="connsiteY1" fmla="*/ 91793 h 243077"/>
                <a:gd name="connsiteX2" fmla="*/ -323 w 126968"/>
                <a:gd name="connsiteY2" fmla="*/ 45787 h 243077"/>
                <a:gd name="connsiteX3" fmla="*/ 29110 w 126968"/>
                <a:gd name="connsiteY3" fmla="*/ 45787 h 243077"/>
                <a:gd name="connsiteX4" fmla="*/ 29110 w 126968"/>
                <a:gd name="connsiteY4" fmla="*/ -219 h 243077"/>
                <a:gd name="connsiteX5" fmla="*/ 87879 w 126968"/>
                <a:gd name="connsiteY5" fmla="*/ -219 h 243077"/>
                <a:gd name="connsiteX6" fmla="*/ 87879 w 126968"/>
                <a:gd name="connsiteY6" fmla="*/ 45596 h 243077"/>
                <a:gd name="connsiteX7" fmla="*/ 126646 w 126968"/>
                <a:gd name="connsiteY7" fmla="*/ 45596 h 243077"/>
                <a:gd name="connsiteX8" fmla="*/ 126646 w 126968"/>
                <a:gd name="connsiteY8" fmla="*/ 91602 h 243077"/>
                <a:gd name="connsiteX9" fmla="*/ 87879 w 126968"/>
                <a:gd name="connsiteY9" fmla="*/ 91602 h 243077"/>
                <a:gd name="connsiteX10" fmla="*/ 87879 w 126968"/>
                <a:gd name="connsiteY10" fmla="*/ 174184 h 243077"/>
                <a:gd name="connsiteX11" fmla="*/ 102929 w 126968"/>
                <a:gd name="connsiteY11" fmla="*/ 195234 h 243077"/>
                <a:gd name="connsiteX12" fmla="*/ 126360 w 126968"/>
                <a:gd name="connsiteY12" fmla="*/ 195234 h 243077"/>
                <a:gd name="connsiteX13" fmla="*/ 126360 w 126968"/>
                <a:gd name="connsiteY13" fmla="*/ 242859 h 243077"/>
                <a:gd name="connsiteX14" fmla="*/ 87212 w 126968"/>
                <a:gd name="connsiteY14" fmla="*/ 242859 h 243077"/>
                <a:gd name="connsiteX15" fmla="*/ 34348 w 126968"/>
                <a:gd name="connsiteY15" fmla="*/ 216665 h 243077"/>
                <a:gd name="connsiteX16" fmla="*/ 29110 w 126968"/>
                <a:gd name="connsiteY16" fmla="*/ 182376 h 2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968" h="243077">
                  <a:moveTo>
                    <a:pt x="29110" y="91793"/>
                  </a:moveTo>
                  <a:lnTo>
                    <a:pt x="-323" y="91793"/>
                  </a:lnTo>
                  <a:lnTo>
                    <a:pt x="-323" y="45787"/>
                  </a:lnTo>
                  <a:lnTo>
                    <a:pt x="29110" y="45787"/>
                  </a:lnTo>
                  <a:lnTo>
                    <a:pt x="29110" y="-219"/>
                  </a:lnTo>
                  <a:lnTo>
                    <a:pt x="87879" y="-219"/>
                  </a:lnTo>
                  <a:lnTo>
                    <a:pt x="87879" y="45596"/>
                  </a:lnTo>
                  <a:lnTo>
                    <a:pt x="126646" y="45596"/>
                  </a:lnTo>
                  <a:lnTo>
                    <a:pt x="126646" y="91602"/>
                  </a:lnTo>
                  <a:lnTo>
                    <a:pt x="87879" y="91602"/>
                  </a:lnTo>
                  <a:lnTo>
                    <a:pt x="87879" y="174184"/>
                  </a:lnTo>
                  <a:cubicBezTo>
                    <a:pt x="87879" y="191615"/>
                    <a:pt x="86355" y="195901"/>
                    <a:pt x="102929" y="195234"/>
                  </a:cubicBezTo>
                  <a:lnTo>
                    <a:pt x="126360" y="195234"/>
                  </a:lnTo>
                  <a:lnTo>
                    <a:pt x="126360" y="242859"/>
                  </a:lnTo>
                  <a:lnTo>
                    <a:pt x="87212" y="242859"/>
                  </a:lnTo>
                  <a:cubicBezTo>
                    <a:pt x="64923" y="242859"/>
                    <a:pt x="43683" y="238001"/>
                    <a:pt x="34348" y="216665"/>
                  </a:cubicBezTo>
                  <a:cubicBezTo>
                    <a:pt x="30329" y="205702"/>
                    <a:pt x="28548" y="194043"/>
                    <a:pt x="29110" y="18237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0" name="Grafik 5">
              <a:extLst>
                <a:ext uri="{FF2B5EF4-FFF2-40B4-BE49-F238E27FC236}">
                  <a16:creationId xmlns:a16="http://schemas.microsoft.com/office/drawing/2014/main" id="{4297D864-5AB0-4BCA-BCBF-696F80029B85}"/>
                </a:ext>
              </a:extLst>
            </p:cNvPr>
            <p:cNvSpPr/>
            <p:nvPr/>
          </p:nvSpPr>
          <p:spPr>
            <a:xfrm>
              <a:off x="7115595" y="5885928"/>
              <a:ext cx="126873" cy="243077"/>
            </a:xfrm>
            <a:custGeom>
              <a:avLst/>
              <a:gdLst>
                <a:gd name="connsiteX0" fmla="*/ 29110 w 126873"/>
                <a:gd name="connsiteY0" fmla="*/ 91793 h 243077"/>
                <a:gd name="connsiteX1" fmla="*/ -323 w 126873"/>
                <a:gd name="connsiteY1" fmla="*/ 91793 h 243077"/>
                <a:gd name="connsiteX2" fmla="*/ -323 w 126873"/>
                <a:gd name="connsiteY2" fmla="*/ 45787 h 243077"/>
                <a:gd name="connsiteX3" fmla="*/ 29110 w 126873"/>
                <a:gd name="connsiteY3" fmla="*/ 45787 h 243077"/>
                <a:gd name="connsiteX4" fmla="*/ 29110 w 126873"/>
                <a:gd name="connsiteY4" fmla="*/ -219 h 243077"/>
                <a:gd name="connsiteX5" fmla="*/ 87784 w 126873"/>
                <a:gd name="connsiteY5" fmla="*/ -219 h 243077"/>
                <a:gd name="connsiteX6" fmla="*/ 87784 w 126873"/>
                <a:gd name="connsiteY6" fmla="*/ 45596 h 243077"/>
                <a:gd name="connsiteX7" fmla="*/ 126550 w 126873"/>
                <a:gd name="connsiteY7" fmla="*/ 45596 h 243077"/>
                <a:gd name="connsiteX8" fmla="*/ 126550 w 126873"/>
                <a:gd name="connsiteY8" fmla="*/ 91602 h 243077"/>
                <a:gd name="connsiteX9" fmla="*/ 87784 w 126873"/>
                <a:gd name="connsiteY9" fmla="*/ 91602 h 243077"/>
                <a:gd name="connsiteX10" fmla="*/ 87784 w 126873"/>
                <a:gd name="connsiteY10" fmla="*/ 174184 h 243077"/>
                <a:gd name="connsiteX11" fmla="*/ 102833 w 126873"/>
                <a:gd name="connsiteY11" fmla="*/ 195234 h 243077"/>
                <a:gd name="connsiteX12" fmla="*/ 126265 w 126873"/>
                <a:gd name="connsiteY12" fmla="*/ 195234 h 243077"/>
                <a:gd name="connsiteX13" fmla="*/ 126265 w 126873"/>
                <a:gd name="connsiteY13" fmla="*/ 242859 h 243077"/>
                <a:gd name="connsiteX14" fmla="*/ 86831 w 126873"/>
                <a:gd name="connsiteY14" fmla="*/ 242859 h 243077"/>
                <a:gd name="connsiteX15" fmla="*/ 33968 w 126873"/>
                <a:gd name="connsiteY15" fmla="*/ 216665 h 243077"/>
                <a:gd name="connsiteX16" fmla="*/ 28729 w 126873"/>
                <a:gd name="connsiteY16" fmla="*/ 182376 h 2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873" h="243077">
                  <a:moveTo>
                    <a:pt x="29110" y="91793"/>
                  </a:moveTo>
                  <a:lnTo>
                    <a:pt x="-323" y="91793"/>
                  </a:lnTo>
                  <a:lnTo>
                    <a:pt x="-323" y="45787"/>
                  </a:lnTo>
                  <a:lnTo>
                    <a:pt x="29110" y="45787"/>
                  </a:lnTo>
                  <a:lnTo>
                    <a:pt x="29110" y="-219"/>
                  </a:lnTo>
                  <a:lnTo>
                    <a:pt x="87784" y="-219"/>
                  </a:lnTo>
                  <a:lnTo>
                    <a:pt x="87784" y="45596"/>
                  </a:lnTo>
                  <a:lnTo>
                    <a:pt x="126550" y="45596"/>
                  </a:lnTo>
                  <a:lnTo>
                    <a:pt x="126550" y="91602"/>
                  </a:lnTo>
                  <a:lnTo>
                    <a:pt x="87784" y="91602"/>
                  </a:lnTo>
                  <a:lnTo>
                    <a:pt x="87784" y="174184"/>
                  </a:lnTo>
                  <a:cubicBezTo>
                    <a:pt x="87784" y="191615"/>
                    <a:pt x="86260" y="195901"/>
                    <a:pt x="102833" y="195234"/>
                  </a:cubicBezTo>
                  <a:lnTo>
                    <a:pt x="126265" y="195234"/>
                  </a:lnTo>
                  <a:lnTo>
                    <a:pt x="126265" y="242859"/>
                  </a:lnTo>
                  <a:lnTo>
                    <a:pt x="86831" y="242859"/>
                  </a:lnTo>
                  <a:cubicBezTo>
                    <a:pt x="64448" y="242859"/>
                    <a:pt x="43302" y="238001"/>
                    <a:pt x="33968" y="216665"/>
                  </a:cubicBezTo>
                  <a:cubicBezTo>
                    <a:pt x="29948" y="205702"/>
                    <a:pt x="28167" y="194043"/>
                    <a:pt x="28729" y="18237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1" name="Grafik 5">
              <a:extLst>
                <a:ext uri="{FF2B5EF4-FFF2-40B4-BE49-F238E27FC236}">
                  <a16:creationId xmlns:a16="http://schemas.microsoft.com/office/drawing/2014/main" id="{D3BB1924-9E2A-485A-846E-D3DA77B5AED1}"/>
                </a:ext>
              </a:extLst>
            </p:cNvPr>
            <p:cNvSpPr/>
            <p:nvPr/>
          </p:nvSpPr>
          <p:spPr>
            <a:xfrm>
              <a:off x="5930685" y="5885928"/>
              <a:ext cx="126873" cy="243077"/>
            </a:xfrm>
            <a:custGeom>
              <a:avLst/>
              <a:gdLst>
                <a:gd name="connsiteX0" fmla="*/ 29109 w 126873"/>
                <a:gd name="connsiteY0" fmla="*/ 91793 h 243077"/>
                <a:gd name="connsiteX1" fmla="*/ -323 w 126873"/>
                <a:gd name="connsiteY1" fmla="*/ 91793 h 243077"/>
                <a:gd name="connsiteX2" fmla="*/ -323 w 126873"/>
                <a:gd name="connsiteY2" fmla="*/ 45787 h 243077"/>
                <a:gd name="connsiteX3" fmla="*/ 29109 w 126873"/>
                <a:gd name="connsiteY3" fmla="*/ 45787 h 243077"/>
                <a:gd name="connsiteX4" fmla="*/ 29109 w 126873"/>
                <a:gd name="connsiteY4" fmla="*/ -219 h 243077"/>
                <a:gd name="connsiteX5" fmla="*/ 87784 w 126873"/>
                <a:gd name="connsiteY5" fmla="*/ -219 h 243077"/>
                <a:gd name="connsiteX6" fmla="*/ 87784 w 126873"/>
                <a:gd name="connsiteY6" fmla="*/ 45596 h 243077"/>
                <a:gd name="connsiteX7" fmla="*/ 126550 w 126873"/>
                <a:gd name="connsiteY7" fmla="*/ 45596 h 243077"/>
                <a:gd name="connsiteX8" fmla="*/ 126550 w 126873"/>
                <a:gd name="connsiteY8" fmla="*/ 91602 h 243077"/>
                <a:gd name="connsiteX9" fmla="*/ 87784 w 126873"/>
                <a:gd name="connsiteY9" fmla="*/ 91602 h 243077"/>
                <a:gd name="connsiteX10" fmla="*/ 87784 w 126873"/>
                <a:gd name="connsiteY10" fmla="*/ 174184 h 243077"/>
                <a:gd name="connsiteX11" fmla="*/ 102928 w 126873"/>
                <a:gd name="connsiteY11" fmla="*/ 195234 h 243077"/>
                <a:gd name="connsiteX12" fmla="*/ 126264 w 126873"/>
                <a:gd name="connsiteY12" fmla="*/ 195234 h 243077"/>
                <a:gd name="connsiteX13" fmla="*/ 126264 w 126873"/>
                <a:gd name="connsiteY13" fmla="*/ 242859 h 243077"/>
                <a:gd name="connsiteX14" fmla="*/ 87212 w 126873"/>
                <a:gd name="connsiteY14" fmla="*/ 242859 h 243077"/>
                <a:gd name="connsiteX15" fmla="*/ 34348 w 126873"/>
                <a:gd name="connsiteY15" fmla="*/ 216665 h 243077"/>
                <a:gd name="connsiteX16" fmla="*/ 29109 w 126873"/>
                <a:gd name="connsiteY16" fmla="*/ 182376 h 2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873" h="243077">
                  <a:moveTo>
                    <a:pt x="29109" y="91793"/>
                  </a:moveTo>
                  <a:lnTo>
                    <a:pt x="-323" y="91793"/>
                  </a:lnTo>
                  <a:lnTo>
                    <a:pt x="-323" y="45787"/>
                  </a:lnTo>
                  <a:lnTo>
                    <a:pt x="29109" y="45787"/>
                  </a:lnTo>
                  <a:lnTo>
                    <a:pt x="29109" y="-219"/>
                  </a:lnTo>
                  <a:lnTo>
                    <a:pt x="87784" y="-219"/>
                  </a:lnTo>
                  <a:lnTo>
                    <a:pt x="87784" y="45596"/>
                  </a:lnTo>
                  <a:lnTo>
                    <a:pt x="126550" y="45596"/>
                  </a:lnTo>
                  <a:lnTo>
                    <a:pt x="126550" y="91602"/>
                  </a:lnTo>
                  <a:lnTo>
                    <a:pt x="87784" y="91602"/>
                  </a:lnTo>
                  <a:lnTo>
                    <a:pt x="87784" y="174184"/>
                  </a:lnTo>
                  <a:cubicBezTo>
                    <a:pt x="87784" y="191615"/>
                    <a:pt x="86259" y="195901"/>
                    <a:pt x="102928" y="195234"/>
                  </a:cubicBezTo>
                  <a:lnTo>
                    <a:pt x="126264" y="195234"/>
                  </a:lnTo>
                  <a:lnTo>
                    <a:pt x="126264" y="242859"/>
                  </a:lnTo>
                  <a:lnTo>
                    <a:pt x="87212" y="242859"/>
                  </a:lnTo>
                  <a:cubicBezTo>
                    <a:pt x="64828" y="242859"/>
                    <a:pt x="43683" y="238001"/>
                    <a:pt x="34348" y="216665"/>
                  </a:cubicBezTo>
                  <a:cubicBezTo>
                    <a:pt x="30329" y="205702"/>
                    <a:pt x="28548" y="194043"/>
                    <a:pt x="29109" y="18237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2" name="Grafik 5">
              <a:extLst>
                <a:ext uri="{FF2B5EF4-FFF2-40B4-BE49-F238E27FC236}">
                  <a16:creationId xmlns:a16="http://schemas.microsoft.com/office/drawing/2014/main" id="{6512BCDB-216B-46F9-A03E-05E4817DB6F8}"/>
                </a:ext>
              </a:extLst>
            </p:cNvPr>
            <p:cNvSpPr/>
            <p:nvPr/>
          </p:nvSpPr>
          <p:spPr>
            <a:xfrm>
              <a:off x="6771743" y="5927933"/>
              <a:ext cx="188214" cy="205282"/>
            </a:xfrm>
            <a:custGeom>
              <a:avLst/>
              <a:gdLst>
                <a:gd name="connsiteX0" fmla="*/ 58351 w 188214"/>
                <a:gd name="connsiteY0" fmla="*/ 102366 h 205282"/>
                <a:gd name="connsiteX1" fmla="*/ 92927 w 188214"/>
                <a:gd name="connsiteY1" fmla="*/ 49407 h 205282"/>
                <a:gd name="connsiteX2" fmla="*/ 131027 w 188214"/>
                <a:gd name="connsiteY2" fmla="*/ 102366 h 205282"/>
                <a:gd name="connsiteX3" fmla="*/ 92927 w 188214"/>
                <a:gd name="connsiteY3" fmla="*/ 155420 h 205282"/>
                <a:gd name="connsiteX4" fmla="*/ 58351 w 188214"/>
                <a:gd name="connsiteY4" fmla="*/ 102366 h 205282"/>
                <a:gd name="connsiteX5" fmla="*/ 129122 w 188214"/>
                <a:gd name="connsiteY5" fmla="*/ 192472 h 205282"/>
                <a:gd name="connsiteX6" fmla="*/ 129122 w 188214"/>
                <a:gd name="connsiteY6" fmla="*/ 201045 h 205282"/>
                <a:gd name="connsiteX7" fmla="*/ 187891 w 188214"/>
                <a:gd name="connsiteY7" fmla="*/ 201045 h 205282"/>
                <a:gd name="connsiteX8" fmla="*/ 187891 w 188214"/>
                <a:gd name="connsiteY8" fmla="*/ 3782 h 205282"/>
                <a:gd name="connsiteX9" fmla="*/ 129217 w 188214"/>
                <a:gd name="connsiteY9" fmla="*/ 3782 h 205282"/>
                <a:gd name="connsiteX10" fmla="*/ 129217 w 188214"/>
                <a:gd name="connsiteY10" fmla="*/ 14069 h 205282"/>
                <a:gd name="connsiteX11" fmla="*/ 84545 w 188214"/>
                <a:gd name="connsiteY11" fmla="*/ -218 h 205282"/>
                <a:gd name="connsiteX12" fmla="*/ -323 w 188214"/>
                <a:gd name="connsiteY12" fmla="*/ 102366 h 205282"/>
                <a:gd name="connsiteX13" fmla="*/ 84545 w 188214"/>
                <a:gd name="connsiteY13" fmla="*/ 205045 h 205282"/>
                <a:gd name="connsiteX14" fmla="*/ 129122 w 188214"/>
                <a:gd name="connsiteY14" fmla="*/ 192472 h 20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214" h="205282">
                  <a:moveTo>
                    <a:pt x="58351" y="102366"/>
                  </a:moveTo>
                  <a:cubicBezTo>
                    <a:pt x="58351" y="80458"/>
                    <a:pt x="65209" y="49407"/>
                    <a:pt x="92927" y="49407"/>
                  </a:cubicBezTo>
                  <a:cubicBezTo>
                    <a:pt x="120645" y="49407"/>
                    <a:pt x="131027" y="77982"/>
                    <a:pt x="131027" y="102366"/>
                  </a:cubicBezTo>
                  <a:cubicBezTo>
                    <a:pt x="131027" y="126750"/>
                    <a:pt x="121502" y="155230"/>
                    <a:pt x="92927" y="155420"/>
                  </a:cubicBezTo>
                  <a:cubicBezTo>
                    <a:pt x="64352" y="155610"/>
                    <a:pt x="58351" y="124464"/>
                    <a:pt x="58351" y="102366"/>
                  </a:cubicBezTo>
                  <a:close/>
                  <a:moveTo>
                    <a:pt x="129122" y="192472"/>
                  </a:moveTo>
                  <a:lnTo>
                    <a:pt x="129122" y="201045"/>
                  </a:lnTo>
                  <a:lnTo>
                    <a:pt x="187891" y="201045"/>
                  </a:lnTo>
                  <a:lnTo>
                    <a:pt x="187891" y="3782"/>
                  </a:lnTo>
                  <a:lnTo>
                    <a:pt x="129217" y="3782"/>
                  </a:lnTo>
                  <a:lnTo>
                    <a:pt x="129217" y="14069"/>
                  </a:lnTo>
                  <a:cubicBezTo>
                    <a:pt x="116196" y="4725"/>
                    <a:pt x="100566" y="-276"/>
                    <a:pt x="84545" y="-218"/>
                  </a:cubicBezTo>
                  <a:cubicBezTo>
                    <a:pt x="27395" y="-218"/>
                    <a:pt x="-323" y="49978"/>
                    <a:pt x="-323" y="102366"/>
                  </a:cubicBezTo>
                  <a:cubicBezTo>
                    <a:pt x="-323" y="153325"/>
                    <a:pt x="26062" y="204855"/>
                    <a:pt x="84545" y="205045"/>
                  </a:cubicBezTo>
                  <a:cubicBezTo>
                    <a:pt x="100328" y="205388"/>
                    <a:pt x="115844" y="201007"/>
                    <a:pt x="129122" y="192472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3" name="Grafik 5">
              <a:extLst>
                <a:ext uri="{FF2B5EF4-FFF2-40B4-BE49-F238E27FC236}">
                  <a16:creationId xmlns:a16="http://schemas.microsoft.com/office/drawing/2014/main" id="{87AF57B7-8112-4297-BDB6-75136CD650EF}"/>
                </a:ext>
              </a:extLst>
            </p:cNvPr>
            <p:cNvSpPr/>
            <p:nvPr/>
          </p:nvSpPr>
          <p:spPr>
            <a:xfrm>
              <a:off x="7355045" y="5864401"/>
              <a:ext cx="97259" cy="264795"/>
            </a:xfrm>
            <a:custGeom>
              <a:avLst/>
              <a:gdLst>
                <a:gd name="connsiteX0" fmla="*/ -218 w 97259"/>
                <a:gd name="connsiteY0" fmla="*/ -219 h 264795"/>
                <a:gd name="connsiteX1" fmla="*/ 58455 w 97259"/>
                <a:gd name="connsiteY1" fmla="*/ -219 h 264795"/>
                <a:gd name="connsiteX2" fmla="*/ 58455 w 97259"/>
                <a:gd name="connsiteY2" fmla="*/ 195901 h 264795"/>
                <a:gd name="connsiteX3" fmla="*/ 73505 w 97259"/>
                <a:gd name="connsiteY3" fmla="*/ 216951 h 264795"/>
                <a:gd name="connsiteX4" fmla="*/ 96937 w 97259"/>
                <a:gd name="connsiteY4" fmla="*/ 216951 h 264795"/>
                <a:gd name="connsiteX5" fmla="*/ 96937 w 97259"/>
                <a:gd name="connsiteY5" fmla="*/ 264576 h 264795"/>
                <a:gd name="connsiteX6" fmla="*/ 57884 w 97259"/>
                <a:gd name="connsiteY6" fmla="*/ 264576 h 264795"/>
                <a:gd name="connsiteX7" fmla="*/ 5020 w 97259"/>
                <a:gd name="connsiteY7" fmla="*/ 238383 h 264795"/>
                <a:gd name="connsiteX8" fmla="*/ -218 w 97259"/>
                <a:gd name="connsiteY8" fmla="*/ 204093 h 26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259" h="264795">
                  <a:moveTo>
                    <a:pt x="-218" y="-219"/>
                  </a:moveTo>
                  <a:lnTo>
                    <a:pt x="58455" y="-219"/>
                  </a:lnTo>
                  <a:lnTo>
                    <a:pt x="58455" y="195901"/>
                  </a:lnTo>
                  <a:cubicBezTo>
                    <a:pt x="58455" y="213332"/>
                    <a:pt x="56932" y="217618"/>
                    <a:pt x="73505" y="216951"/>
                  </a:cubicBezTo>
                  <a:lnTo>
                    <a:pt x="96937" y="216951"/>
                  </a:lnTo>
                  <a:lnTo>
                    <a:pt x="96937" y="264576"/>
                  </a:lnTo>
                  <a:lnTo>
                    <a:pt x="57884" y="264576"/>
                  </a:lnTo>
                  <a:cubicBezTo>
                    <a:pt x="35500" y="264576"/>
                    <a:pt x="14355" y="259718"/>
                    <a:pt x="5020" y="238383"/>
                  </a:cubicBezTo>
                  <a:cubicBezTo>
                    <a:pt x="991" y="227419"/>
                    <a:pt x="-790" y="215761"/>
                    <a:pt x="-218" y="20409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4" name="Grafik 5">
              <a:extLst>
                <a:ext uri="{FF2B5EF4-FFF2-40B4-BE49-F238E27FC236}">
                  <a16:creationId xmlns:a16="http://schemas.microsoft.com/office/drawing/2014/main" id="{C9D87A76-379C-40F1-A2FA-7921A0748F9B}"/>
                </a:ext>
              </a:extLst>
            </p:cNvPr>
            <p:cNvSpPr/>
            <p:nvPr/>
          </p:nvSpPr>
          <p:spPr>
            <a:xfrm>
              <a:off x="8812474" y="5931934"/>
              <a:ext cx="114871" cy="197262"/>
            </a:xfrm>
            <a:custGeom>
              <a:avLst/>
              <a:gdLst>
                <a:gd name="connsiteX0" fmla="*/ -323 w 114871"/>
                <a:gd name="connsiteY0" fmla="*/ 74362 h 197262"/>
                <a:gd name="connsiteX1" fmla="*/ 84164 w 114871"/>
                <a:gd name="connsiteY1" fmla="*/ -219 h 197262"/>
                <a:gd name="connsiteX2" fmla="*/ 114549 w 114871"/>
                <a:gd name="connsiteY2" fmla="*/ -219 h 197262"/>
                <a:gd name="connsiteX3" fmla="*/ 114549 w 114871"/>
                <a:gd name="connsiteY3" fmla="*/ 45787 h 197262"/>
                <a:gd name="connsiteX4" fmla="*/ 86545 w 114871"/>
                <a:gd name="connsiteY4" fmla="*/ 45787 h 197262"/>
                <a:gd name="connsiteX5" fmla="*/ 57970 w 114871"/>
                <a:gd name="connsiteY5" fmla="*/ 79410 h 197262"/>
                <a:gd name="connsiteX6" fmla="*/ 57970 w 114871"/>
                <a:gd name="connsiteY6" fmla="*/ 197044 h 197262"/>
                <a:gd name="connsiteX7" fmla="*/ -323 w 114871"/>
                <a:gd name="connsiteY7" fmla="*/ 197044 h 19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871" h="197262">
                  <a:moveTo>
                    <a:pt x="-323" y="74362"/>
                  </a:moveTo>
                  <a:cubicBezTo>
                    <a:pt x="-323" y="29594"/>
                    <a:pt x="27205" y="-219"/>
                    <a:pt x="84164" y="-219"/>
                  </a:cubicBezTo>
                  <a:lnTo>
                    <a:pt x="114549" y="-219"/>
                  </a:lnTo>
                  <a:lnTo>
                    <a:pt x="114549" y="45787"/>
                  </a:lnTo>
                  <a:lnTo>
                    <a:pt x="86545" y="45787"/>
                  </a:lnTo>
                  <a:cubicBezTo>
                    <a:pt x="65781" y="45787"/>
                    <a:pt x="58542" y="61979"/>
                    <a:pt x="57970" y="79410"/>
                  </a:cubicBezTo>
                  <a:lnTo>
                    <a:pt x="57970" y="197044"/>
                  </a:lnTo>
                  <a:lnTo>
                    <a:pt x="-323" y="19704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5" name="Grafik 5">
              <a:extLst>
                <a:ext uri="{FF2B5EF4-FFF2-40B4-BE49-F238E27FC236}">
                  <a16:creationId xmlns:a16="http://schemas.microsoft.com/office/drawing/2014/main" id="{B5535252-7D5B-42C1-BF1D-C870DB38CD40}"/>
                </a:ext>
              </a:extLst>
            </p:cNvPr>
            <p:cNvSpPr/>
            <p:nvPr/>
          </p:nvSpPr>
          <p:spPr>
            <a:xfrm>
              <a:off x="8120197" y="5931934"/>
              <a:ext cx="115252" cy="197262"/>
            </a:xfrm>
            <a:custGeom>
              <a:avLst/>
              <a:gdLst>
                <a:gd name="connsiteX0" fmla="*/ 58 w 115252"/>
                <a:gd name="connsiteY0" fmla="*/ 74362 h 197262"/>
                <a:gd name="connsiteX1" fmla="*/ 84545 w 115252"/>
                <a:gd name="connsiteY1" fmla="*/ -219 h 197262"/>
                <a:gd name="connsiteX2" fmla="*/ 114930 w 115252"/>
                <a:gd name="connsiteY2" fmla="*/ -219 h 197262"/>
                <a:gd name="connsiteX3" fmla="*/ 114930 w 115252"/>
                <a:gd name="connsiteY3" fmla="*/ 45787 h 197262"/>
                <a:gd name="connsiteX4" fmla="*/ 86926 w 115252"/>
                <a:gd name="connsiteY4" fmla="*/ 45787 h 197262"/>
                <a:gd name="connsiteX5" fmla="*/ 58351 w 115252"/>
                <a:gd name="connsiteY5" fmla="*/ 79410 h 197262"/>
                <a:gd name="connsiteX6" fmla="*/ 58351 w 115252"/>
                <a:gd name="connsiteY6" fmla="*/ 197044 h 197262"/>
                <a:gd name="connsiteX7" fmla="*/ -323 w 115252"/>
                <a:gd name="connsiteY7" fmla="*/ 197044 h 19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52" h="197262">
                  <a:moveTo>
                    <a:pt x="58" y="74362"/>
                  </a:moveTo>
                  <a:cubicBezTo>
                    <a:pt x="58" y="29594"/>
                    <a:pt x="27490" y="-219"/>
                    <a:pt x="84545" y="-219"/>
                  </a:cubicBezTo>
                  <a:lnTo>
                    <a:pt x="114930" y="-219"/>
                  </a:lnTo>
                  <a:lnTo>
                    <a:pt x="114930" y="45787"/>
                  </a:lnTo>
                  <a:lnTo>
                    <a:pt x="86926" y="45787"/>
                  </a:lnTo>
                  <a:cubicBezTo>
                    <a:pt x="66162" y="45787"/>
                    <a:pt x="58923" y="61979"/>
                    <a:pt x="58351" y="79410"/>
                  </a:cubicBezTo>
                  <a:lnTo>
                    <a:pt x="58351" y="197044"/>
                  </a:lnTo>
                  <a:lnTo>
                    <a:pt x="-323" y="19704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6" name="Grafik 5">
              <a:extLst>
                <a:ext uri="{FF2B5EF4-FFF2-40B4-BE49-F238E27FC236}">
                  <a16:creationId xmlns:a16="http://schemas.microsoft.com/office/drawing/2014/main" id="{4BB82534-0E83-429E-9D35-F1A460A977FB}"/>
                </a:ext>
              </a:extLst>
            </p:cNvPr>
            <p:cNvSpPr/>
            <p:nvPr/>
          </p:nvSpPr>
          <p:spPr>
            <a:xfrm>
              <a:off x="7691477" y="5864401"/>
              <a:ext cx="188214" cy="268812"/>
            </a:xfrm>
            <a:custGeom>
              <a:avLst/>
              <a:gdLst>
                <a:gd name="connsiteX0" fmla="*/ 129217 w 188214"/>
                <a:gd name="connsiteY0" fmla="*/ 165897 h 268812"/>
                <a:gd name="connsiteX1" fmla="*/ 94737 w 188214"/>
                <a:gd name="connsiteY1" fmla="*/ 112938 h 268812"/>
                <a:gd name="connsiteX2" fmla="*/ 56637 w 188214"/>
                <a:gd name="connsiteY2" fmla="*/ 165897 h 268812"/>
                <a:gd name="connsiteX3" fmla="*/ 94737 w 188214"/>
                <a:gd name="connsiteY3" fmla="*/ 218951 h 268812"/>
                <a:gd name="connsiteX4" fmla="*/ 129217 w 188214"/>
                <a:gd name="connsiteY4" fmla="*/ 165897 h 268812"/>
                <a:gd name="connsiteX5" fmla="*/ 58351 w 188214"/>
                <a:gd name="connsiteY5" fmla="*/ 256004 h 268812"/>
                <a:gd name="connsiteX6" fmla="*/ 58351 w 188214"/>
                <a:gd name="connsiteY6" fmla="*/ 264576 h 268812"/>
                <a:gd name="connsiteX7" fmla="*/ -323 w 188214"/>
                <a:gd name="connsiteY7" fmla="*/ 264576 h 268812"/>
                <a:gd name="connsiteX8" fmla="*/ -323 w 188214"/>
                <a:gd name="connsiteY8" fmla="*/ -219 h 268812"/>
                <a:gd name="connsiteX9" fmla="*/ 58351 w 188214"/>
                <a:gd name="connsiteY9" fmla="*/ -219 h 268812"/>
                <a:gd name="connsiteX10" fmla="*/ 58351 w 188214"/>
                <a:gd name="connsiteY10" fmla="*/ 77601 h 268812"/>
                <a:gd name="connsiteX11" fmla="*/ 103023 w 188214"/>
                <a:gd name="connsiteY11" fmla="*/ 63313 h 268812"/>
                <a:gd name="connsiteX12" fmla="*/ 187891 w 188214"/>
                <a:gd name="connsiteY12" fmla="*/ 165897 h 268812"/>
                <a:gd name="connsiteX13" fmla="*/ 103023 w 188214"/>
                <a:gd name="connsiteY13" fmla="*/ 268577 h 268812"/>
                <a:gd name="connsiteX14" fmla="*/ 58351 w 188214"/>
                <a:gd name="connsiteY14" fmla="*/ 256004 h 26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214" h="268812">
                  <a:moveTo>
                    <a:pt x="129217" y="165897"/>
                  </a:moveTo>
                  <a:cubicBezTo>
                    <a:pt x="129217" y="143990"/>
                    <a:pt x="122359" y="112938"/>
                    <a:pt x="94737" y="112938"/>
                  </a:cubicBezTo>
                  <a:cubicBezTo>
                    <a:pt x="67115" y="112938"/>
                    <a:pt x="56637" y="141513"/>
                    <a:pt x="56637" y="165897"/>
                  </a:cubicBezTo>
                  <a:cubicBezTo>
                    <a:pt x="56637" y="190281"/>
                    <a:pt x="66162" y="218761"/>
                    <a:pt x="94737" y="218951"/>
                  </a:cubicBezTo>
                  <a:cubicBezTo>
                    <a:pt x="123312" y="219142"/>
                    <a:pt x="129217" y="187995"/>
                    <a:pt x="129217" y="165897"/>
                  </a:cubicBezTo>
                  <a:close/>
                  <a:moveTo>
                    <a:pt x="58351" y="256004"/>
                  </a:moveTo>
                  <a:lnTo>
                    <a:pt x="58351" y="264576"/>
                  </a:lnTo>
                  <a:lnTo>
                    <a:pt x="-323" y="264576"/>
                  </a:lnTo>
                  <a:lnTo>
                    <a:pt x="-323" y="-219"/>
                  </a:lnTo>
                  <a:lnTo>
                    <a:pt x="58351" y="-219"/>
                  </a:lnTo>
                  <a:lnTo>
                    <a:pt x="58351" y="77601"/>
                  </a:lnTo>
                  <a:cubicBezTo>
                    <a:pt x="71372" y="68256"/>
                    <a:pt x="87003" y="63256"/>
                    <a:pt x="103023" y="63313"/>
                  </a:cubicBezTo>
                  <a:cubicBezTo>
                    <a:pt x="160173" y="63313"/>
                    <a:pt x="187891" y="113510"/>
                    <a:pt x="187891" y="165897"/>
                  </a:cubicBezTo>
                  <a:cubicBezTo>
                    <a:pt x="187891" y="216856"/>
                    <a:pt x="161507" y="268386"/>
                    <a:pt x="103023" y="268577"/>
                  </a:cubicBezTo>
                  <a:cubicBezTo>
                    <a:pt x="87212" y="268900"/>
                    <a:pt x="71667" y="264529"/>
                    <a:pt x="58351" y="25600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7" name="Grafik 5">
              <a:extLst>
                <a:ext uri="{FF2B5EF4-FFF2-40B4-BE49-F238E27FC236}">
                  <a16:creationId xmlns:a16="http://schemas.microsoft.com/office/drawing/2014/main" id="{4099B10C-2BAF-4072-B76B-DD1DD3DDCED8}"/>
                </a:ext>
              </a:extLst>
            </p:cNvPr>
            <p:cNvSpPr/>
            <p:nvPr/>
          </p:nvSpPr>
          <p:spPr>
            <a:xfrm>
              <a:off x="8450524" y="5885928"/>
              <a:ext cx="126968" cy="243077"/>
            </a:xfrm>
            <a:custGeom>
              <a:avLst/>
              <a:gdLst>
                <a:gd name="connsiteX0" fmla="*/ 28728 w 126968"/>
                <a:gd name="connsiteY0" fmla="*/ 91793 h 243077"/>
                <a:gd name="connsiteX1" fmla="*/ -323 w 126968"/>
                <a:gd name="connsiteY1" fmla="*/ 91793 h 243077"/>
                <a:gd name="connsiteX2" fmla="*/ -323 w 126968"/>
                <a:gd name="connsiteY2" fmla="*/ 45787 h 243077"/>
                <a:gd name="connsiteX3" fmla="*/ 29110 w 126968"/>
                <a:gd name="connsiteY3" fmla="*/ 45787 h 243077"/>
                <a:gd name="connsiteX4" fmla="*/ 29110 w 126968"/>
                <a:gd name="connsiteY4" fmla="*/ -219 h 243077"/>
                <a:gd name="connsiteX5" fmla="*/ 87879 w 126968"/>
                <a:gd name="connsiteY5" fmla="*/ -219 h 243077"/>
                <a:gd name="connsiteX6" fmla="*/ 87879 w 126968"/>
                <a:gd name="connsiteY6" fmla="*/ 45596 h 243077"/>
                <a:gd name="connsiteX7" fmla="*/ 126646 w 126968"/>
                <a:gd name="connsiteY7" fmla="*/ 45596 h 243077"/>
                <a:gd name="connsiteX8" fmla="*/ 126646 w 126968"/>
                <a:gd name="connsiteY8" fmla="*/ 91602 h 243077"/>
                <a:gd name="connsiteX9" fmla="*/ 87879 w 126968"/>
                <a:gd name="connsiteY9" fmla="*/ 91602 h 243077"/>
                <a:gd name="connsiteX10" fmla="*/ 87879 w 126968"/>
                <a:gd name="connsiteY10" fmla="*/ 174184 h 243077"/>
                <a:gd name="connsiteX11" fmla="*/ 102929 w 126968"/>
                <a:gd name="connsiteY11" fmla="*/ 195234 h 243077"/>
                <a:gd name="connsiteX12" fmla="*/ 126360 w 126968"/>
                <a:gd name="connsiteY12" fmla="*/ 195234 h 243077"/>
                <a:gd name="connsiteX13" fmla="*/ 126360 w 126968"/>
                <a:gd name="connsiteY13" fmla="*/ 242859 h 243077"/>
                <a:gd name="connsiteX14" fmla="*/ 87307 w 126968"/>
                <a:gd name="connsiteY14" fmla="*/ 242859 h 243077"/>
                <a:gd name="connsiteX15" fmla="*/ 34444 w 126968"/>
                <a:gd name="connsiteY15" fmla="*/ 216665 h 243077"/>
                <a:gd name="connsiteX16" fmla="*/ 29110 w 126968"/>
                <a:gd name="connsiteY16" fmla="*/ 182376 h 2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968" h="243077">
                  <a:moveTo>
                    <a:pt x="28728" y="91793"/>
                  </a:moveTo>
                  <a:lnTo>
                    <a:pt x="-323" y="91793"/>
                  </a:lnTo>
                  <a:lnTo>
                    <a:pt x="-323" y="45787"/>
                  </a:lnTo>
                  <a:lnTo>
                    <a:pt x="29110" y="45787"/>
                  </a:lnTo>
                  <a:lnTo>
                    <a:pt x="29110" y="-219"/>
                  </a:lnTo>
                  <a:lnTo>
                    <a:pt x="87879" y="-219"/>
                  </a:lnTo>
                  <a:lnTo>
                    <a:pt x="87879" y="45596"/>
                  </a:lnTo>
                  <a:lnTo>
                    <a:pt x="126646" y="45596"/>
                  </a:lnTo>
                  <a:lnTo>
                    <a:pt x="126646" y="91602"/>
                  </a:lnTo>
                  <a:lnTo>
                    <a:pt x="87879" y="91602"/>
                  </a:lnTo>
                  <a:lnTo>
                    <a:pt x="87879" y="174184"/>
                  </a:lnTo>
                  <a:cubicBezTo>
                    <a:pt x="87879" y="191615"/>
                    <a:pt x="86355" y="195901"/>
                    <a:pt x="102929" y="195234"/>
                  </a:cubicBezTo>
                  <a:lnTo>
                    <a:pt x="126360" y="195234"/>
                  </a:lnTo>
                  <a:lnTo>
                    <a:pt x="126360" y="242859"/>
                  </a:lnTo>
                  <a:lnTo>
                    <a:pt x="87307" y="242859"/>
                  </a:lnTo>
                  <a:cubicBezTo>
                    <a:pt x="64923" y="242859"/>
                    <a:pt x="43778" y="238001"/>
                    <a:pt x="34444" y="216665"/>
                  </a:cubicBezTo>
                  <a:cubicBezTo>
                    <a:pt x="30443" y="205693"/>
                    <a:pt x="28624" y="194043"/>
                    <a:pt x="29110" y="18237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8" name="Grafik 5">
              <a:extLst>
                <a:ext uri="{FF2B5EF4-FFF2-40B4-BE49-F238E27FC236}">
                  <a16:creationId xmlns:a16="http://schemas.microsoft.com/office/drawing/2014/main" id="{E3246463-0088-4064-BD44-8579556FCC00}"/>
                </a:ext>
              </a:extLst>
            </p:cNvPr>
            <p:cNvSpPr/>
            <p:nvPr/>
          </p:nvSpPr>
          <p:spPr>
            <a:xfrm>
              <a:off x="8947980" y="5931934"/>
              <a:ext cx="177020" cy="262615"/>
            </a:xfrm>
            <a:custGeom>
              <a:avLst/>
              <a:gdLst>
                <a:gd name="connsiteX0" fmla="*/ 118870 w 177020"/>
                <a:gd name="connsiteY0" fmla="*/ 180375 h 262615"/>
                <a:gd name="connsiteX1" fmla="*/ 112202 w 177020"/>
                <a:gd name="connsiteY1" fmla="*/ 184471 h 262615"/>
                <a:gd name="connsiteX2" fmla="*/ 74674 w 177020"/>
                <a:gd name="connsiteY2" fmla="*/ 193329 h 262615"/>
                <a:gd name="connsiteX3" fmla="*/ -174 w 177020"/>
                <a:gd name="connsiteY3" fmla="*/ 127693 h 262615"/>
                <a:gd name="connsiteX4" fmla="*/ -193 w 177020"/>
                <a:gd name="connsiteY4" fmla="*/ 118844 h 262615"/>
                <a:gd name="connsiteX5" fmla="*/ -193 w 177020"/>
                <a:gd name="connsiteY5" fmla="*/ -219 h 262615"/>
                <a:gd name="connsiteX6" fmla="*/ 58482 w 177020"/>
                <a:gd name="connsiteY6" fmla="*/ -219 h 262615"/>
                <a:gd name="connsiteX7" fmla="*/ 58482 w 177020"/>
                <a:gd name="connsiteY7" fmla="*/ 104556 h 262615"/>
                <a:gd name="connsiteX8" fmla="*/ 64196 w 177020"/>
                <a:gd name="connsiteY8" fmla="*/ 134751 h 262615"/>
                <a:gd name="connsiteX9" fmla="*/ 85342 w 177020"/>
                <a:gd name="connsiteY9" fmla="*/ 143514 h 262615"/>
                <a:gd name="connsiteX10" fmla="*/ 108773 w 177020"/>
                <a:gd name="connsiteY10" fmla="*/ 132560 h 262615"/>
                <a:gd name="connsiteX11" fmla="*/ 117822 w 177020"/>
                <a:gd name="connsiteY11" fmla="*/ 99889 h 262615"/>
                <a:gd name="connsiteX12" fmla="*/ 117822 w 177020"/>
                <a:gd name="connsiteY12" fmla="*/ -219 h 262615"/>
                <a:gd name="connsiteX13" fmla="*/ 176591 w 177020"/>
                <a:gd name="connsiteY13" fmla="*/ -219 h 262615"/>
                <a:gd name="connsiteX14" fmla="*/ 176591 w 177020"/>
                <a:gd name="connsiteY14" fmla="*/ 173422 h 262615"/>
                <a:gd name="connsiteX15" fmla="*/ 149635 w 177020"/>
                <a:gd name="connsiteY15" fmla="*/ 238668 h 262615"/>
                <a:gd name="connsiteX16" fmla="*/ 76293 w 177020"/>
                <a:gd name="connsiteY16" fmla="*/ 262290 h 262615"/>
                <a:gd name="connsiteX17" fmla="*/ 13809 w 177020"/>
                <a:gd name="connsiteY17" fmla="*/ 262290 h 262615"/>
                <a:gd name="connsiteX18" fmla="*/ 13809 w 177020"/>
                <a:gd name="connsiteY18" fmla="*/ 212665 h 262615"/>
                <a:gd name="connsiteX19" fmla="*/ 73721 w 177020"/>
                <a:gd name="connsiteY19" fmla="*/ 212665 h 262615"/>
                <a:gd name="connsiteX20" fmla="*/ 108773 w 177020"/>
                <a:gd name="connsiteY20" fmla="*/ 203140 h 262615"/>
                <a:gd name="connsiteX21" fmla="*/ 118870 w 177020"/>
                <a:gd name="connsiteY21" fmla="*/ 180375 h 26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7020" h="262615">
                  <a:moveTo>
                    <a:pt x="118870" y="180375"/>
                  </a:moveTo>
                  <a:cubicBezTo>
                    <a:pt x="116736" y="181890"/>
                    <a:pt x="114517" y="183252"/>
                    <a:pt x="112202" y="184471"/>
                  </a:cubicBezTo>
                  <a:cubicBezTo>
                    <a:pt x="100591" y="190415"/>
                    <a:pt x="87714" y="193453"/>
                    <a:pt x="74674" y="193329"/>
                  </a:cubicBezTo>
                  <a:cubicBezTo>
                    <a:pt x="35878" y="195872"/>
                    <a:pt x="2369" y="166488"/>
                    <a:pt x="-174" y="127693"/>
                  </a:cubicBezTo>
                  <a:cubicBezTo>
                    <a:pt x="-364" y="124749"/>
                    <a:pt x="-374" y="121787"/>
                    <a:pt x="-193" y="118844"/>
                  </a:cubicBezTo>
                  <a:lnTo>
                    <a:pt x="-193" y="-219"/>
                  </a:lnTo>
                  <a:lnTo>
                    <a:pt x="58482" y="-219"/>
                  </a:lnTo>
                  <a:lnTo>
                    <a:pt x="58482" y="104556"/>
                  </a:lnTo>
                  <a:cubicBezTo>
                    <a:pt x="57567" y="114958"/>
                    <a:pt x="59539" y="125407"/>
                    <a:pt x="64196" y="134751"/>
                  </a:cubicBezTo>
                  <a:cubicBezTo>
                    <a:pt x="69216" y="141180"/>
                    <a:pt x="77246" y="144504"/>
                    <a:pt x="85342" y="143514"/>
                  </a:cubicBezTo>
                  <a:cubicBezTo>
                    <a:pt x="94419" y="143656"/>
                    <a:pt x="103059" y="139618"/>
                    <a:pt x="108773" y="132560"/>
                  </a:cubicBezTo>
                  <a:cubicBezTo>
                    <a:pt x="115393" y="123006"/>
                    <a:pt x="118584" y="111491"/>
                    <a:pt x="117822" y="99889"/>
                  </a:cubicBezTo>
                  <a:lnTo>
                    <a:pt x="117822" y="-219"/>
                  </a:lnTo>
                  <a:lnTo>
                    <a:pt x="176591" y="-219"/>
                  </a:lnTo>
                  <a:lnTo>
                    <a:pt x="176591" y="173422"/>
                  </a:lnTo>
                  <a:cubicBezTo>
                    <a:pt x="177849" y="198111"/>
                    <a:pt x="167952" y="222066"/>
                    <a:pt x="149635" y="238668"/>
                  </a:cubicBezTo>
                  <a:cubicBezTo>
                    <a:pt x="128805" y="255070"/>
                    <a:pt x="102782" y="263452"/>
                    <a:pt x="76293" y="262290"/>
                  </a:cubicBezTo>
                  <a:lnTo>
                    <a:pt x="13809" y="262290"/>
                  </a:lnTo>
                  <a:lnTo>
                    <a:pt x="13809" y="212665"/>
                  </a:lnTo>
                  <a:lnTo>
                    <a:pt x="73721" y="212665"/>
                  </a:lnTo>
                  <a:cubicBezTo>
                    <a:pt x="86171" y="213770"/>
                    <a:pt x="98601" y="210398"/>
                    <a:pt x="108773" y="203140"/>
                  </a:cubicBezTo>
                  <a:cubicBezTo>
                    <a:pt x="114898" y="197101"/>
                    <a:pt x="118508" y="188967"/>
                    <a:pt x="118870" y="1803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19" name="Grafik 5">
              <a:extLst>
                <a:ext uri="{FF2B5EF4-FFF2-40B4-BE49-F238E27FC236}">
                  <a16:creationId xmlns:a16="http://schemas.microsoft.com/office/drawing/2014/main" id="{79DB3AFB-5BFD-4AB2-8C51-F70D66E1FB12}"/>
                </a:ext>
              </a:extLst>
            </p:cNvPr>
            <p:cNvSpPr/>
            <p:nvPr/>
          </p:nvSpPr>
          <p:spPr>
            <a:xfrm>
              <a:off x="8836096" y="4782384"/>
              <a:ext cx="498449" cy="930951"/>
            </a:xfrm>
            <a:custGeom>
              <a:avLst/>
              <a:gdLst>
                <a:gd name="connsiteX0" fmla="*/ 245137 w 498449"/>
                <a:gd name="connsiteY0" fmla="*/ 256553 h 930951"/>
                <a:gd name="connsiteX1" fmla="*/ 239231 w 498449"/>
                <a:gd name="connsiteY1" fmla="*/ 210261 h 930951"/>
                <a:gd name="connsiteX2" fmla="*/ 220181 w 498449"/>
                <a:gd name="connsiteY2" fmla="*/ 169780 h 930951"/>
                <a:gd name="connsiteX3" fmla="*/ 186939 w 498449"/>
                <a:gd name="connsiteY3" fmla="*/ 141205 h 930951"/>
                <a:gd name="connsiteX4" fmla="*/ 137600 w 498449"/>
                <a:gd name="connsiteY4" fmla="*/ 130347 h 930951"/>
                <a:gd name="connsiteX5" fmla="*/ -323 w 498449"/>
                <a:gd name="connsiteY5" fmla="*/ 130347 h 930951"/>
                <a:gd name="connsiteX6" fmla="*/ -323 w 498449"/>
                <a:gd name="connsiteY6" fmla="*/ -146 h 930951"/>
                <a:gd name="connsiteX7" fmla="*/ 224563 w 498449"/>
                <a:gd name="connsiteY7" fmla="*/ -146 h 930951"/>
                <a:gd name="connsiteX8" fmla="*/ 349626 w 498449"/>
                <a:gd name="connsiteY8" fmla="*/ 20619 h 930951"/>
                <a:gd name="connsiteX9" fmla="*/ 434589 w 498449"/>
                <a:gd name="connsiteY9" fmla="*/ 76626 h 930951"/>
                <a:gd name="connsiteX10" fmla="*/ 482881 w 498449"/>
                <a:gd name="connsiteY10" fmla="*/ 158540 h 930951"/>
                <a:gd name="connsiteX11" fmla="*/ 498121 w 498449"/>
                <a:gd name="connsiteY11" fmla="*/ 256553 h 930951"/>
                <a:gd name="connsiteX12" fmla="*/ 498121 w 498449"/>
                <a:gd name="connsiteY12" fmla="*/ 930732 h 930951"/>
                <a:gd name="connsiteX13" fmla="*/ 245137 w 498449"/>
                <a:gd name="connsiteY13" fmla="*/ 930732 h 9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8449" h="930951">
                  <a:moveTo>
                    <a:pt x="245137" y="256553"/>
                  </a:moveTo>
                  <a:cubicBezTo>
                    <a:pt x="245184" y="240932"/>
                    <a:pt x="243203" y="225368"/>
                    <a:pt x="239231" y="210261"/>
                  </a:cubicBezTo>
                  <a:cubicBezTo>
                    <a:pt x="235393" y="195726"/>
                    <a:pt x="228935" y="182001"/>
                    <a:pt x="220181" y="169780"/>
                  </a:cubicBezTo>
                  <a:cubicBezTo>
                    <a:pt x="211552" y="157731"/>
                    <a:pt x="200150" y="147930"/>
                    <a:pt x="186939" y="141205"/>
                  </a:cubicBezTo>
                  <a:cubicBezTo>
                    <a:pt x="171585" y="133728"/>
                    <a:pt x="154678" y="130004"/>
                    <a:pt x="137600" y="130347"/>
                  </a:cubicBezTo>
                  <a:lnTo>
                    <a:pt x="-323" y="130347"/>
                  </a:lnTo>
                  <a:lnTo>
                    <a:pt x="-323" y="-146"/>
                  </a:lnTo>
                  <a:lnTo>
                    <a:pt x="224563" y="-146"/>
                  </a:lnTo>
                  <a:cubicBezTo>
                    <a:pt x="267178" y="-1022"/>
                    <a:pt x="309583" y="6017"/>
                    <a:pt x="349626" y="20619"/>
                  </a:cubicBezTo>
                  <a:cubicBezTo>
                    <a:pt x="381868" y="32525"/>
                    <a:pt x="410938" y="51689"/>
                    <a:pt x="434589" y="76626"/>
                  </a:cubicBezTo>
                  <a:cubicBezTo>
                    <a:pt x="456249" y="100248"/>
                    <a:pt x="472698" y="128156"/>
                    <a:pt x="482881" y="158540"/>
                  </a:cubicBezTo>
                  <a:cubicBezTo>
                    <a:pt x="493187" y="190183"/>
                    <a:pt x="498330" y="223272"/>
                    <a:pt x="498121" y="256553"/>
                  </a:cubicBezTo>
                  <a:lnTo>
                    <a:pt x="498121" y="930732"/>
                  </a:lnTo>
                  <a:lnTo>
                    <a:pt x="245137" y="930732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0" name="Grafik 5">
              <a:extLst>
                <a:ext uri="{FF2B5EF4-FFF2-40B4-BE49-F238E27FC236}">
                  <a16:creationId xmlns:a16="http://schemas.microsoft.com/office/drawing/2014/main" id="{84A9DCBF-FB51-4A1A-81D1-5C036A40B872}"/>
                </a:ext>
              </a:extLst>
            </p:cNvPr>
            <p:cNvSpPr/>
            <p:nvPr/>
          </p:nvSpPr>
          <p:spPr>
            <a:xfrm>
              <a:off x="9237384" y="5885928"/>
              <a:ext cx="97262" cy="243268"/>
            </a:xfrm>
            <a:custGeom>
              <a:avLst/>
              <a:gdLst>
                <a:gd name="connsiteX0" fmla="*/ 96832 w 97262"/>
                <a:gd name="connsiteY0" fmla="*/ 243050 h 243268"/>
                <a:gd name="connsiteX1" fmla="*/ 38063 w 97262"/>
                <a:gd name="connsiteY1" fmla="*/ 243050 h 243268"/>
                <a:gd name="connsiteX2" fmla="*/ 38063 w 97262"/>
                <a:gd name="connsiteY2" fmla="*/ 67028 h 243268"/>
                <a:gd name="connsiteX3" fmla="*/ 23014 w 97262"/>
                <a:gd name="connsiteY3" fmla="*/ 45977 h 243268"/>
                <a:gd name="connsiteX4" fmla="*/ -323 w 97262"/>
                <a:gd name="connsiteY4" fmla="*/ 45977 h 243268"/>
                <a:gd name="connsiteX5" fmla="*/ -323 w 97262"/>
                <a:gd name="connsiteY5" fmla="*/ -219 h 243268"/>
                <a:gd name="connsiteX6" fmla="*/ 38730 w 97262"/>
                <a:gd name="connsiteY6" fmla="*/ -219 h 243268"/>
                <a:gd name="connsiteX7" fmla="*/ 91594 w 97262"/>
                <a:gd name="connsiteY7" fmla="*/ 26070 h 243268"/>
                <a:gd name="connsiteX8" fmla="*/ 96832 w 97262"/>
                <a:gd name="connsiteY8" fmla="*/ 60265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262" h="243268">
                  <a:moveTo>
                    <a:pt x="96832" y="243050"/>
                  </a:moveTo>
                  <a:lnTo>
                    <a:pt x="38063" y="243050"/>
                  </a:lnTo>
                  <a:lnTo>
                    <a:pt x="38063" y="67028"/>
                  </a:lnTo>
                  <a:cubicBezTo>
                    <a:pt x="38063" y="49502"/>
                    <a:pt x="39587" y="45311"/>
                    <a:pt x="23014" y="45977"/>
                  </a:cubicBezTo>
                  <a:lnTo>
                    <a:pt x="-323" y="45977"/>
                  </a:lnTo>
                  <a:lnTo>
                    <a:pt x="-323" y="-219"/>
                  </a:lnTo>
                  <a:lnTo>
                    <a:pt x="38730" y="-219"/>
                  </a:lnTo>
                  <a:cubicBezTo>
                    <a:pt x="61018" y="-219"/>
                    <a:pt x="82260" y="4639"/>
                    <a:pt x="91594" y="26070"/>
                  </a:cubicBezTo>
                  <a:cubicBezTo>
                    <a:pt x="95633" y="36995"/>
                    <a:pt x="97413" y="48635"/>
                    <a:pt x="96832" y="6026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1" name="Grafik 5">
              <a:extLst>
                <a:ext uri="{FF2B5EF4-FFF2-40B4-BE49-F238E27FC236}">
                  <a16:creationId xmlns:a16="http://schemas.microsoft.com/office/drawing/2014/main" id="{4EFA4AF6-13D6-41BE-A0EF-5E1B63FBE8B6}"/>
                </a:ext>
              </a:extLst>
            </p:cNvPr>
            <p:cNvSpPr/>
            <p:nvPr/>
          </p:nvSpPr>
          <p:spPr>
            <a:xfrm>
              <a:off x="4443737" y="4703775"/>
              <a:ext cx="688752" cy="780198"/>
            </a:xfrm>
            <a:custGeom>
              <a:avLst/>
              <a:gdLst>
                <a:gd name="connsiteX0" fmla="*/ 688430 w 688752"/>
                <a:gd name="connsiteY0" fmla="*/ 217813 h 780198"/>
                <a:gd name="connsiteX1" fmla="*/ 688430 w 688752"/>
                <a:gd name="connsiteY1" fmla="*/ 562142 h 780198"/>
                <a:gd name="connsiteX2" fmla="*/ 664999 w 688752"/>
                <a:gd name="connsiteY2" fmla="*/ 602242 h 780198"/>
                <a:gd name="connsiteX3" fmla="*/ 367438 w 688752"/>
                <a:gd name="connsiteY3" fmla="*/ 773692 h 780198"/>
                <a:gd name="connsiteX4" fmla="*/ 344101 w 688752"/>
                <a:gd name="connsiteY4" fmla="*/ 779979 h 780198"/>
                <a:gd name="connsiteX5" fmla="*/ 320670 w 688752"/>
                <a:gd name="connsiteY5" fmla="*/ 773692 h 780198"/>
                <a:gd name="connsiteX6" fmla="*/ 22442 w 688752"/>
                <a:gd name="connsiteY6" fmla="*/ 601576 h 780198"/>
                <a:gd name="connsiteX7" fmla="*/ 5869 w 688752"/>
                <a:gd name="connsiteY7" fmla="*/ 584811 h 780198"/>
                <a:gd name="connsiteX8" fmla="*/ -323 w 688752"/>
                <a:gd name="connsiteY8" fmla="*/ 561761 h 780198"/>
                <a:gd name="connsiteX9" fmla="*/ -323 w 688752"/>
                <a:gd name="connsiteY9" fmla="*/ 217813 h 780198"/>
                <a:gd name="connsiteX10" fmla="*/ 5869 w 688752"/>
                <a:gd name="connsiteY10" fmla="*/ 194763 h 780198"/>
                <a:gd name="connsiteX11" fmla="*/ 23109 w 688752"/>
                <a:gd name="connsiteY11" fmla="*/ 177618 h 780198"/>
                <a:gd name="connsiteX12" fmla="*/ 320670 w 688752"/>
                <a:gd name="connsiteY12" fmla="*/ 6168 h 780198"/>
                <a:gd name="connsiteX13" fmla="*/ 367438 w 688752"/>
                <a:gd name="connsiteY13" fmla="*/ 6168 h 780198"/>
                <a:gd name="connsiteX14" fmla="*/ 665666 w 688752"/>
                <a:gd name="connsiteY14" fmla="*/ 178284 h 780198"/>
                <a:gd name="connsiteX15" fmla="*/ 682239 w 688752"/>
                <a:gd name="connsiteY15" fmla="*/ 195048 h 780198"/>
                <a:gd name="connsiteX16" fmla="*/ 688430 w 688752"/>
                <a:gd name="connsiteY16" fmla="*/ 217813 h 78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8752" h="780198">
                  <a:moveTo>
                    <a:pt x="688430" y="217813"/>
                  </a:moveTo>
                  <a:lnTo>
                    <a:pt x="688430" y="562142"/>
                  </a:lnTo>
                  <a:cubicBezTo>
                    <a:pt x="688440" y="578763"/>
                    <a:pt x="679477" y="594089"/>
                    <a:pt x="664999" y="602242"/>
                  </a:cubicBezTo>
                  <a:lnTo>
                    <a:pt x="367438" y="773692"/>
                  </a:lnTo>
                  <a:cubicBezTo>
                    <a:pt x="360351" y="777826"/>
                    <a:pt x="352302" y="779988"/>
                    <a:pt x="344101" y="779979"/>
                  </a:cubicBezTo>
                  <a:cubicBezTo>
                    <a:pt x="335862" y="780045"/>
                    <a:pt x="327766" y="777874"/>
                    <a:pt x="320670" y="773692"/>
                  </a:cubicBezTo>
                  <a:lnTo>
                    <a:pt x="22442" y="601576"/>
                  </a:lnTo>
                  <a:cubicBezTo>
                    <a:pt x="15575" y="597499"/>
                    <a:pt x="9860" y="591727"/>
                    <a:pt x="5869" y="584811"/>
                  </a:cubicBezTo>
                  <a:cubicBezTo>
                    <a:pt x="1801" y="577811"/>
                    <a:pt x="-332" y="569857"/>
                    <a:pt x="-323" y="561761"/>
                  </a:cubicBezTo>
                  <a:lnTo>
                    <a:pt x="-323" y="217813"/>
                  </a:lnTo>
                  <a:cubicBezTo>
                    <a:pt x="-332" y="209717"/>
                    <a:pt x="1801" y="201764"/>
                    <a:pt x="5869" y="194763"/>
                  </a:cubicBezTo>
                  <a:cubicBezTo>
                    <a:pt x="9993" y="187619"/>
                    <a:pt x="15946" y="181704"/>
                    <a:pt x="23109" y="177618"/>
                  </a:cubicBezTo>
                  <a:lnTo>
                    <a:pt x="320670" y="6168"/>
                  </a:lnTo>
                  <a:cubicBezTo>
                    <a:pt x="335100" y="-2348"/>
                    <a:pt x="353007" y="-2348"/>
                    <a:pt x="367438" y="6168"/>
                  </a:cubicBezTo>
                  <a:lnTo>
                    <a:pt x="665666" y="178284"/>
                  </a:lnTo>
                  <a:cubicBezTo>
                    <a:pt x="672533" y="182361"/>
                    <a:pt x="678248" y="188133"/>
                    <a:pt x="682239" y="195048"/>
                  </a:cubicBezTo>
                  <a:cubicBezTo>
                    <a:pt x="686258" y="201964"/>
                    <a:pt x="688392" y="209812"/>
                    <a:pt x="688430" y="2178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2" name="Grafik 5">
              <a:extLst>
                <a:ext uri="{FF2B5EF4-FFF2-40B4-BE49-F238E27FC236}">
                  <a16:creationId xmlns:a16="http://schemas.microsoft.com/office/drawing/2014/main" id="{FCE261C7-488F-48E6-9C8F-9F3DCEC4E4EC}"/>
                </a:ext>
              </a:extLst>
            </p:cNvPr>
            <p:cNvSpPr/>
            <p:nvPr/>
          </p:nvSpPr>
          <p:spPr>
            <a:xfrm>
              <a:off x="4831310" y="5375007"/>
              <a:ext cx="688665" cy="780292"/>
            </a:xfrm>
            <a:custGeom>
              <a:avLst/>
              <a:gdLst>
                <a:gd name="connsiteX0" fmla="*/ 688335 w 688665"/>
                <a:gd name="connsiteY0" fmla="*/ 217809 h 780292"/>
                <a:gd name="connsiteX1" fmla="*/ 688335 w 688665"/>
                <a:gd name="connsiteY1" fmla="*/ 562137 h 780292"/>
                <a:gd name="connsiteX2" fmla="*/ 664999 w 688665"/>
                <a:gd name="connsiteY2" fmla="*/ 602237 h 780292"/>
                <a:gd name="connsiteX3" fmla="*/ 367438 w 688665"/>
                <a:gd name="connsiteY3" fmla="*/ 773687 h 780292"/>
                <a:gd name="connsiteX4" fmla="*/ 320670 w 688665"/>
                <a:gd name="connsiteY4" fmla="*/ 773687 h 780292"/>
                <a:gd name="connsiteX5" fmla="*/ 22442 w 688665"/>
                <a:gd name="connsiteY5" fmla="*/ 601571 h 780292"/>
                <a:gd name="connsiteX6" fmla="*/ 5869 w 688665"/>
                <a:gd name="connsiteY6" fmla="*/ 584807 h 780292"/>
                <a:gd name="connsiteX7" fmla="*/ -323 w 688665"/>
                <a:gd name="connsiteY7" fmla="*/ 561756 h 780292"/>
                <a:gd name="connsiteX8" fmla="*/ -323 w 688665"/>
                <a:gd name="connsiteY8" fmla="*/ 217809 h 780292"/>
                <a:gd name="connsiteX9" fmla="*/ 5869 w 688665"/>
                <a:gd name="connsiteY9" fmla="*/ 194758 h 780292"/>
                <a:gd name="connsiteX10" fmla="*/ 23014 w 688665"/>
                <a:gd name="connsiteY10" fmla="*/ 177613 h 780292"/>
                <a:gd name="connsiteX11" fmla="*/ 320670 w 688665"/>
                <a:gd name="connsiteY11" fmla="*/ 6163 h 780292"/>
                <a:gd name="connsiteX12" fmla="*/ 344006 w 688665"/>
                <a:gd name="connsiteY12" fmla="*/ -219 h 780292"/>
                <a:gd name="connsiteX13" fmla="*/ 367438 w 688665"/>
                <a:gd name="connsiteY13" fmla="*/ 6163 h 780292"/>
                <a:gd name="connsiteX14" fmla="*/ 666142 w 688665"/>
                <a:gd name="connsiteY14" fmla="*/ 177994 h 780292"/>
                <a:gd name="connsiteX15" fmla="*/ 682620 w 688665"/>
                <a:gd name="connsiteY15" fmla="*/ 194758 h 780292"/>
                <a:gd name="connsiteX16" fmla="*/ 688335 w 688665"/>
                <a:gd name="connsiteY16" fmla="*/ 217809 h 78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8665" h="780292">
                  <a:moveTo>
                    <a:pt x="688335" y="217809"/>
                  </a:moveTo>
                  <a:lnTo>
                    <a:pt x="688335" y="562137"/>
                  </a:lnTo>
                  <a:cubicBezTo>
                    <a:pt x="688316" y="578720"/>
                    <a:pt x="679410" y="594027"/>
                    <a:pt x="664999" y="602237"/>
                  </a:cubicBezTo>
                  <a:lnTo>
                    <a:pt x="367438" y="773687"/>
                  </a:lnTo>
                  <a:cubicBezTo>
                    <a:pt x="353007" y="782203"/>
                    <a:pt x="335100" y="782203"/>
                    <a:pt x="320670" y="773687"/>
                  </a:cubicBezTo>
                  <a:lnTo>
                    <a:pt x="22442" y="601571"/>
                  </a:lnTo>
                  <a:cubicBezTo>
                    <a:pt x="15575" y="597494"/>
                    <a:pt x="9860" y="591722"/>
                    <a:pt x="5869" y="584807"/>
                  </a:cubicBezTo>
                  <a:cubicBezTo>
                    <a:pt x="1811" y="577806"/>
                    <a:pt x="-323" y="569852"/>
                    <a:pt x="-323" y="561756"/>
                  </a:cubicBezTo>
                  <a:lnTo>
                    <a:pt x="-323" y="217809"/>
                  </a:lnTo>
                  <a:cubicBezTo>
                    <a:pt x="-332" y="209712"/>
                    <a:pt x="1801" y="201759"/>
                    <a:pt x="5869" y="194758"/>
                  </a:cubicBezTo>
                  <a:cubicBezTo>
                    <a:pt x="9983" y="187643"/>
                    <a:pt x="15898" y="181728"/>
                    <a:pt x="23014" y="177613"/>
                  </a:cubicBezTo>
                  <a:lnTo>
                    <a:pt x="320670" y="6163"/>
                  </a:lnTo>
                  <a:cubicBezTo>
                    <a:pt x="327737" y="1991"/>
                    <a:pt x="335796" y="-209"/>
                    <a:pt x="344006" y="-219"/>
                  </a:cubicBezTo>
                  <a:cubicBezTo>
                    <a:pt x="352245" y="-200"/>
                    <a:pt x="360332" y="2010"/>
                    <a:pt x="367438" y="6163"/>
                  </a:cubicBezTo>
                  <a:lnTo>
                    <a:pt x="666142" y="177994"/>
                  </a:lnTo>
                  <a:cubicBezTo>
                    <a:pt x="672980" y="182071"/>
                    <a:pt x="678657" y="187853"/>
                    <a:pt x="682620" y="194758"/>
                  </a:cubicBezTo>
                  <a:cubicBezTo>
                    <a:pt x="686516" y="201807"/>
                    <a:pt x="688487" y="209760"/>
                    <a:pt x="688335" y="21780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3" name="Grafik 5">
              <a:extLst>
                <a:ext uri="{FF2B5EF4-FFF2-40B4-BE49-F238E27FC236}">
                  <a16:creationId xmlns:a16="http://schemas.microsoft.com/office/drawing/2014/main" id="{40197F17-26E9-490D-ABBF-ADBBA30D0198}"/>
                </a:ext>
              </a:extLst>
            </p:cNvPr>
            <p:cNvSpPr/>
            <p:nvPr/>
          </p:nvSpPr>
          <p:spPr>
            <a:xfrm>
              <a:off x="4056642" y="5375006"/>
              <a:ext cx="688657" cy="780195"/>
            </a:xfrm>
            <a:custGeom>
              <a:avLst/>
              <a:gdLst>
                <a:gd name="connsiteX0" fmla="*/ 688335 w 688657"/>
                <a:gd name="connsiteY0" fmla="*/ 217809 h 780195"/>
                <a:gd name="connsiteX1" fmla="*/ 688335 w 688657"/>
                <a:gd name="connsiteY1" fmla="*/ 562138 h 780195"/>
                <a:gd name="connsiteX2" fmla="*/ 682144 w 688657"/>
                <a:gd name="connsiteY2" fmla="*/ 585189 h 780195"/>
                <a:gd name="connsiteX3" fmla="*/ 664998 w 688657"/>
                <a:gd name="connsiteY3" fmla="*/ 602238 h 780195"/>
                <a:gd name="connsiteX4" fmla="*/ 367437 w 688657"/>
                <a:gd name="connsiteY4" fmla="*/ 773688 h 780195"/>
                <a:gd name="connsiteX5" fmla="*/ 344006 w 688657"/>
                <a:gd name="connsiteY5" fmla="*/ 779975 h 780195"/>
                <a:gd name="connsiteX6" fmla="*/ 320670 w 688657"/>
                <a:gd name="connsiteY6" fmla="*/ 773688 h 780195"/>
                <a:gd name="connsiteX7" fmla="*/ 22442 w 688657"/>
                <a:gd name="connsiteY7" fmla="*/ 601572 h 780195"/>
                <a:gd name="connsiteX8" fmla="*/ 5869 w 688657"/>
                <a:gd name="connsiteY8" fmla="*/ 584808 h 780195"/>
                <a:gd name="connsiteX9" fmla="*/ -323 w 688657"/>
                <a:gd name="connsiteY9" fmla="*/ 561757 h 780195"/>
                <a:gd name="connsiteX10" fmla="*/ -323 w 688657"/>
                <a:gd name="connsiteY10" fmla="*/ 217809 h 780195"/>
                <a:gd name="connsiteX11" fmla="*/ 5869 w 688657"/>
                <a:gd name="connsiteY11" fmla="*/ 194759 h 780195"/>
                <a:gd name="connsiteX12" fmla="*/ 23013 w 688657"/>
                <a:gd name="connsiteY12" fmla="*/ 177614 h 780195"/>
                <a:gd name="connsiteX13" fmla="*/ 320670 w 688657"/>
                <a:gd name="connsiteY13" fmla="*/ 6164 h 780195"/>
                <a:gd name="connsiteX14" fmla="*/ 344006 w 688657"/>
                <a:gd name="connsiteY14" fmla="*/ -218 h 780195"/>
                <a:gd name="connsiteX15" fmla="*/ 367437 w 688657"/>
                <a:gd name="connsiteY15" fmla="*/ 6164 h 780195"/>
                <a:gd name="connsiteX16" fmla="*/ 665570 w 688657"/>
                <a:gd name="connsiteY16" fmla="*/ 178281 h 780195"/>
                <a:gd name="connsiteX17" fmla="*/ 688335 w 688657"/>
                <a:gd name="connsiteY17" fmla="*/ 218095 h 78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8657" h="780195">
                  <a:moveTo>
                    <a:pt x="688335" y="217809"/>
                  </a:moveTo>
                  <a:lnTo>
                    <a:pt x="688335" y="562138"/>
                  </a:lnTo>
                  <a:cubicBezTo>
                    <a:pt x="688335" y="570234"/>
                    <a:pt x="686201" y="578188"/>
                    <a:pt x="682144" y="585189"/>
                  </a:cubicBezTo>
                  <a:cubicBezTo>
                    <a:pt x="678029" y="592275"/>
                    <a:pt x="672114" y="598162"/>
                    <a:pt x="664998" y="602238"/>
                  </a:cubicBezTo>
                  <a:lnTo>
                    <a:pt x="367437" y="773688"/>
                  </a:lnTo>
                  <a:cubicBezTo>
                    <a:pt x="360322" y="777832"/>
                    <a:pt x="352236" y="780003"/>
                    <a:pt x="344006" y="779975"/>
                  </a:cubicBezTo>
                  <a:cubicBezTo>
                    <a:pt x="335796" y="780060"/>
                    <a:pt x="327728" y="777879"/>
                    <a:pt x="320670" y="773688"/>
                  </a:cubicBezTo>
                  <a:lnTo>
                    <a:pt x="22442" y="601572"/>
                  </a:lnTo>
                  <a:cubicBezTo>
                    <a:pt x="15574" y="597495"/>
                    <a:pt x="9860" y="591723"/>
                    <a:pt x="5869" y="584808"/>
                  </a:cubicBezTo>
                  <a:cubicBezTo>
                    <a:pt x="1811" y="577807"/>
                    <a:pt x="-323" y="569853"/>
                    <a:pt x="-323" y="561757"/>
                  </a:cubicBezTo>
                  <a:lnTo>
                    <a:pt x="-323" y="217809"/>
                  </a:lnTo>
                  <a:cubicBezTo>
                    <a:pt x="-332" y="209713"/>
                    <a:pt x="1801" y="201760"/>
                    <a:pt x="5869" y="194759"/>
                  </a:cubicBezTo>
                  <a:cubicBezTo>
                    <a:pt x="9983" y="187644"/>
                    <a:pt x="15898" y="181729"/>
                    <a:pt x="23013" y="177614"/>
                  </a:cubicBezTo>
                  <a:lnTo>
                    <a:pt x="320670" y="6164"/>
                  </a:lnTo>
                  <a:cubicBezTo>
                    <a:pt x="327718" y="1944"/>
                    <a:pt x="335786" y="-265"/>
                    <a:pt x="344006" y="-218"/>
                  </a:cubicBezTo>
                  <a:cubicBezTo>
                    <a:pt x="352245" y="-247"/>
                    <a:pt x="360341" y="1963"/>
                    <a:pt x="367437" y="6164"/>
                  </a:cubicBezTo>
                  <a:lnTo>
                    <a:pt x="665570" y="178281"/>
                  </a:lnTo>
                  <a:cubicBezTo>
                    <a:pt x="679648" y="186615"/>
                    <a:pt x="688297" y="201740"/>
                    <a:pt x="688335" y="21809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4" name="Grafik 5">
              <a:extLst>
                <a:ext uri="{FF2B5EF4-FFF2-40B4-BE49-F238E27FC236}">
                  <a16:creationId xmlns:a16="http://schemas.microsoft.com/office/drawing/2014/main" id="{52D577A3-0753-43E3-A28A-028D192E95EC}"/>
                </a:ext>
              </a:extLst>
            </p:cNvPr>
            <p:cNvSpPr/>
            <p:nvPr/>
          </p:nvSpPr>
          <p:spPr>
            <a:xfrm>
              <a:off x="4556894" y="4853989"/>
              <a:ext cx="468058" cy="482156"/>
            </a:xfrm>
            <a:custGeom>
              <a:avLst/>
              <a:gdLst>
                <a:gd name="connsiteX0" fmla="*/ 338291 w 468058"/>
                <a:gd name="connsiteY0" fmla="*/ 408118 h 482156"/>
                <a:gd name="connsiteX1" fmla="*/ 332386 w 468058"/>
                <a:gd name="connsiteY1" fmla="*/ 406975 h 482156"/>
                <a:gd name="connsiteX2" fmla="*/ 326385 w 468058"/>
                <a:gd name="connsiteY2" fmla="*/ 408118 h 482156"/>
                <a:gd name="connsiteX3" fmla="*/ 321527 w 468058"/>
                <a:gd name="connsiteY3" fmla="*/ 411452 h 482156"/>
                <a:gd name="connsiteX4" fmla="*/ 321527 w 468058"/>
                <a:gd name="connsiteY4" fmla="*/ 411452 h 482156"/>
                <a:gd name="connsiteX5" fmla="*/ 319337 w 468058"/>
                <a:gd name="connsiteY5" fmla="*/ 414119 h 482156"/>
                <a:gd name="connsiteX6" fmla="*/ 318479 w 468058"/>
                <a:gd name="connsiteY6" fmla="*/ 415738 h 482156"/>
                <a:gd name="connsiteX7" fmla="*/ 293714 w 468058"/>
                <a:gd name="connsiteY7" fmla="*/ 415738 h 482156"/>
                <a:gd name="connsiteX8" fmla="*/ 293714 w 468058"/>
                <a:gd name="connsiteY8" fmla="*/ 394212 h 482156"/>
                <a:gd name="connsiteX9" fmla="*/ 281903 w 468058"/>
                <a:gd name="connsiteY9" fmla="*/ 398117 h 482156"/>
                <a:gd name="connsiteX10" fmla="*/ 279808 w 468058"/>
                <a:gd name="connsiteY10" fmla="*/ 398593 h 482156"/>
                <a:gd name="connsiteX11" fmla="*/ 279808 w 468058"/>
                <a:gd name="connsiteY11" fmla="*/ 422596 h 482156"/>
                <a:gd name="connsiteX12" fmla="*/ 281903 w 468058"/>
                <a:gd name="connsiteY12" fmla="*/ 427549 h 482156"/>
                <a:gd name="connsiteX13" fmla="*/ 286761 w 468058"/>
                <a:gd name="connsiteY13" fmla="*/ 429549 h 482156"/>
                <a:gd name="connsiteX14" fmla="*/ 318670 w 468058"/>
                <a:gd name="connsiteY14" fmla="*/ 429549 h 482156"/>
                <a:gd name="connsiteX15" fmla="*/ 319527 w 468058"/>
                <a:gd name="connsiteY15" fmla="*/ 430978 h 482156"/>
                <a:gd name="connsiteX16" fmla="*/ 321432 w 468058"/>
                <a:gd name="connsiteY16" fmla="*/ 433264 h 482156"/>
                <a:gd name="connsiteX17" fmla="*/ 321432 w 468058"/>
                <a:gd name="connsiteY17" fmla="*/ 433264 h 482156"/>
                <a:gd name="connsiteX18" fmla="*/ 326480 w 468058"/>
                <a:gd name="connsiteY18" fmla="*/ 436598 h 482156"/>
                <a:gd name="connsiteX19" fmla="*/ 332481 w 468058"/>
                <a:gd name="connsiteY19" fmla="*/ 437741 h 482156"/>
                <a:gd name="connsiteX20" fmla="*/ 338291 w 468058"/>
                <a:gd name="connsiteY20" fmla="*/ 436598 h 482156"/>
                <a:gd name="connsiteX21" fmla="*/ 338291 w 468058"/>
                <a:gd name="connsiteY21" fmla="*/ 436598 h 482156"/>
                <a:gd name="connsiteX22" fmla="*/ 343339 w 468058"/>
                <a:gd name="connsiteY22" fmla="*/ 433264 h 482156"/>
                <a:gd name="connsiteX23" fmla="*/ 346769 w 468058"/>
                <a:gd name="connsiteY23" fmla="*/ 428121 h 482156"/>
                <a:gd name="connsiteX24" fmla="*/ 347912 w 468058"/>
                <a:gd name="connsiteY24" fmla="*/ 422215 h 482156"/>
                <a:gd name="connsiteX25" fmla="*/ 346769 w 468058"/>
                <a:gd name="connsiteY25" fmla="*/ 416214 h 482156"/>
                <a:gd name="connsiteX26" fmla="*/ 343339 w 468058"/>
                <a:gd name="connsiteY26" fmla="*/ 411166 h 482156"/>
                <a:gd name="connsiteX27" fmla="*/ 338196 w 468058"/>
                <a:gd name="connsiteY27" fmla="*/ 407832 h 482156"/>
                <a:gd name="connsiteX28" fmla="*/ 225229 w 468058"/>
                <a:gd name="connsiteY28" fmla="*/ 261052 h 482156"/>
                <a:gd name="connsiteX29" fmla="*/ 196654 w 468058"/>
                <a:gd name="connsiteY29" fmla="*/ 261052 h 482156"/>
                <a:gd name="connsiteX30" fmla="*/ 192463 w 468058"/>
                <a:gd name="connsiteY30" fmla="*/ 274673 h 482156"/>
                <a:gd name="connsiteX31" fmla="*/ 166365 w 468058"/>
                <a:gd name="connsiteY31" fmla="*/ 274673 h 482156"/>
                <a:gd name="connsiteX32" fmla="*/ 197512 w 468058"/>
                <a:gd name="connsiteY32" fmla="*/ 191901 h 482156"/>
                <a:gd name="connsiteX33" fmla="*/ 225515 w 468058"/>
                <a:gd name="connsiteY33" fmla="*/ 191901 h 482156"/>
                <a:gd name="connsiteX34" fmla="*/ 256567 w 468058"/>
                <a:gd name="connsiteY34" fmla="*/ 274673 h 482156"/>
                <a:gd name="connsiteX35" fmla="*/ 229802 w 468058"/>
                <a:gd name="connsiteY35" fmla="*/ 274673 h 482156"/>
                <a:gd name="connsiteX36" fmla="*/ 225706 w 468058"/>
                <a:gd name="connsiteY36" fmla="*/ 261052 h 482156"/>
                <a:gd name="connsiteX37" fmla="*/ 219800 w 468058"/>
                <a:gd name="connsiteY37" fmla="*/ 243145 h 482156"/>
                <a:gd name="connsiteX38" fmla="*/ 210752 w 468058"/>
                <a:gd name="connsiteY38" fmla="*/ 213332 h 482156"/>
                <a:gd name="connsiteX39" fmla="*/ 201227 w 468058"/>
                <a:gd name="connsiteY39" fmla="*/ 243145 h 482156"/>
                <a:gd name="connsiteX40" fmla="*/ 263329 w 468058"/>
                <a:gd name="connsiteY40" fmla="*/ 191805 h 482156"/>
                <a:gd name="connsiteX41" fmla="*/ 289047 w 468058"/>
                <a:gd name="connsiteY41" fmla="*/ 191805 h 482156"/>
                <a:gd name="connsiteX42" fmla="*/ 289047 w 468058"/>
                <a:gd name="connsiteY42" fmla="*/ 274673 h 482156"/>
                <a:gd name="connsiteX43" fmla="*/ 263329 w 468058"/>
                <a:gd name="connsiteY43" fmla="*/ 274673 h 482156"/>
                <a:gd name="connsiteX44" fmla="*/ 263329 w 468058"/>
                <a:gd name="connsiteY44" fmla="*/ 191805 h 482156"/>
                <a:gd name="connsiteX45" fmla="*/ 244279 w 468058"/>
                <a:gd name="connsiteY45" fmla="*/ 106938 h 482156"/>
                <a:gd name="connsiteX46" fmla="*/ 232659 w 468058"/>
                <a:gd name="connsiteY46" fmla="*/ 119415 h 482156"/>
                <a:gd name="connsiteX47" fmla="*/ 231992 w 468058"/>
                <a:gd name="connsiteY47" fmla="*/ 120082 h 482156"/>
                <a:gd name="connsiteX48" fmla="*/ 228849 w 468058"/>
                <a:gd name="connsiteY48" fmla="*/ 119415 h 482156"/>
                <a:gd name="connsiteX49" fmla="*/ 217324 w 468058"/>
                <a:gd name="connsiteY49" fmla="*/ 106938 h 482156"/>
                <a:gd name="connsiteX50" fmla="*/ 202846 w 468058"/>
                <a:gd name="connsiteY50" fmla="*/ 100556 h 482156"/>
                <a:gd name="connsiteX51" fmla="*/ 202846 w 468058"/>
                <a:gd name="connsiteY51" fmla="*/ 100556 h 482156"/>
                <a:gd name="connsiteX52" fmla="*/ 187987 w 468058"/>
                <a:gd name="connsiteY52" fmla="*/ 100556 h 482156"/>
                <a:gd name="connsiteX53" fmla="*/ 173413 w 468058"/>
                <a:gd name="connsiteY53" fmla="*/ 105985 h 482156"/>
                <a:gd name="connsiteX54" fmla="*/ 161603 w 468058"/>
                <a:gd name="connsiteY54" fmla="*/ 115510 h 482156"/>
                <a:gd name="connsiteX55" fmla="*/ 154078 w 468058"/>
                <a:gd name="connsiteY55" fmla="*/ 128083 h 482156"/>
                <a:gd name="connsiteX56" fmla="*/ 154078 w 468058"/>
                <a:gd name="connsiteY56" fmla="*/ 128083 h 482156"/>
                <a:gd name="connsiteX57" fmla="*/ 153411 w 468058"/>
                <a:gd name="connsiteY57" fmla="*/ 130369 h 482156"/>
                <a:gd name="connsiteX58" fmla="*/ 152744 w 468058"/>
                <a:gd name="connsiteY58" fmla="*/ 132655 h 482156"/>
                <a:gd name="connsiteX59" fmla="*/ 150649 w 468058"/>
                <a:gd name="connsiteY59" fmla="*/ 134465 h 482156"/>
                <a:gd name="connsiteX60" fmla="*/ 135313 w 468058"/>
                <a:gd name="connsiteY60" fmla="*/ 139989 h 482156"/>
                <a:gd name="connsiteX61" fmla="*/ 121788 w 468058"/>
                <a:gd name="connsiteY61" fmla="*/ 151705 h 482156"/>
                <a:gd name="connsiteX62" fmla="*/ 112263 w 468058"/>
                <a:gd name="connsiteY62" fmla="*/ 168469 h 482156"/>
                <a:gd name="connsiteX63" fmla="*/ 108453 w 468058"/>
                <a:gd name="connsiteY63" fmla="*/ 187519 h 482156"/>
                <a:gd name="connsiteX64" fmla="*/ 108453 w 468058"/>
                <a:gd name="connsiteY64" fmla="*/ 190186 h 482156"/>
                <a:gd name="connsiteX65" fmla="*/ 108453 w 468058"/>
                <a:gd name="connsiteY65" fmla="*/ 192853 h 482156"/>
                <a:gd name="connsiteX66" fmla="*/ 107501 w 468058"/>
                <a:gd name="connsiteY66" fmla="*/ 194853 h 482156"/>
                <a:gd name="connsiteX67" fmla="*/ 98737 w 468058"/>
                <a:gd name="connsiteY67" fmla="*/ 201997 h 482156"/>
                <a:gd name="connsiteX68" fmla="*/ 91784 w 468058"/>
                <a:gd name="connsiteY68" fmla="*/ 209903 h 482156"/>
                <a:gd name="connsiteX69" fmla="*/ 84545 w 468058"/>
                <a:gd name="connsiteY69" fmla="*/ 223619 h 482156"/>
                <a:gd name="connsiteX70" fmla="*/ 81973 w 468058"/>
                <a:gd name="connsiteY70" fmla="*/ 238382 h 482156"/>
                <a:gd name="connsiteX71" fmla="*/ 83878 w 468058"/>
                <a:gd name="connsiteY71" fmla="*/ 252194 h 482156"/>
                <a:gd name="connsiteX72" fmla="*/ 89879 w 468058"/>
                <a:gd name="connsiteY72" fmla="*/ 265433 h 482156"/>
                <a:gd name="connsiteX73" fmla="*/ 89879 w 468058"/>
                <a:gd name="connsiteY73" fmla="*/ 265433 h 482156"/>
                <a:gd name="connsiteX74" fmla="*/ 94928 w 468058"/>
                <a:gd name="connsiteY74" fmla="*/ 272387 h 482156"/>
                <a:gd name="connsiteX75" fmla="*/ 101023 w 468058"/>
                <a:gd name="connsiteY75" fmla="*/ 278769 h 482156"/>
                <a:gd name="connsiteX76" fmla="*/ 101786 w 468058"/>
                <a:gd name="connsiteY76" fmla="*/ 280864 h 482156"/>
                <a:gd name="connsiteX77" fmla="*/ 100738 w 468058"/>
                <a:gd name="connsiteY77" fmla="*/ 289722 h 482156"/>
                <a:gd name="connsiteX78" fmla="*/ 100738 w 468058"/>
                <a:gd name="connsiteY78" fmla="*/ 298485 h 482156"/>
                <a:gd name="connsiteX79" fmla="*/ 105214 w 468058"/>
                <a:gd name="connsiteY79" fmla="*/ 313344 h 482156"/>
                <a:gd name="connsiteX80" fmla="*/ 113882 w 468058"/>
                <a:gd name="connsiteY80" fmla="*/ 326774 h 482156"/>
                <a:gd name="connsiteX81" fmla="*/ 125122 w 468058"/>
                <a:gd name="connsiteY81" fmla="*/ 336776 h 482156"/>
                <a:gd name="connsiteX82" fmla="*/ 138076 w 468058"/>
                <a:gd name="connsiteY82" fmla="*/ 343348 h 482156"/>
                <a:gd name="connsiteX83" fmla="*/ 144172 w 468058"/>
                <a:gd name="connsiteY83" fmla="*/ 344967 h 482156"/>
                <a:gd name="connsiteX84" fmla="*/ 150077 w 468058"/>
                <a:gd name="connsiteY84" fmla="*/ 345634 h 482156"/>
                <a:gd name="connsiteX85" fmla="*/ 152363 w 468058"/>
                <a:gd name="connsiteY85" fmla="*/ 347444 h 482156"/>
                <a:gd name="connsiteX86" fmla="*/ 157793 w 468058"/>
                <a:gd name="connsiteY86" fmla="*/ 360493 h 482156"/>
                <a:gd name="connsiteX87" fmla="*/ 167889 w 468058"/>
                <a:gd name="connsiteY87" fmla="*/ 371447 h 482156"/>
                <a:gd name="connsiteX88" fmla="*/ 184748 w 468058"/>
                <a:gd name="connsiteY88" fmla="*/ 379638 h 482156"/>
                <a:gd name="connsiteX89" fmla="*/ 202560 w 468058"/>
                <a:gd name="connsiteY89" fmla="*/ 380115 h 482156"/>
                <a:gd name="connsiteX90" fmla="*/ 217800 w 468058"/>
                <a:gd name="connsiteY90" fmla="*/ 373161 h 482156"/>
                <a:gd name="connsiteX91" fmla="*/ 229706 w 468058"/>
                <a:gd name="connsiteY91" fmla="*/ 359540 h 482156"/>
                <a:gd name="connsiteX92" fmla="*/ 230563 w 468058"/>
                <a:gd name="connsiteY92" fmla="*/ 358779 h 482156"/>
                <a:gd name="connsiteX93" fmla="*/ 233564 w 468058"/>
                <a:gd name="connsiteY93" fmla="*/ 359550 h 482156"/>
                <a:gd name="connsiteX94" fmla="*/ 233611 w 468058"/>
                <a:gd name="connsiteY94" fmla="*/ 359636 h 482156"/>
                <a:gd name="connsiteX95" fmla="*/ 243803 w 468058"/>
                <a:gd name="connsiteY95" fmla="*/ 372304 h 482156"/>
                <a:gd name="connsiteX96" fmla="*/ 257329 w 468058"/>
                <a:gd name="connsiteY96" fmla="*/ 379353 h 482156"/>
                <a:gd name="connsiteX97" fmla="*/ 276379 w 468058"/>
                <a:gd name="connsiteY97" fmla="*/ 379353 h 482156"/>
                <a:gd name="connsiteX98" fmla="*/ 306287 w 468058"/>
                <a:gd name="connsiteY98" fmla="*/ 360303 h 482156"/>
                <a:gd name="connsiteX99" fmla="*/ 312574 w 468058"/>
                <a:gd name="connsiteY99" fmla="*/ 346967 h 482156"/>
                <a:gd name="connsiteX100" fmla="*/ 314384 w 468058"/>
                <a:gd name="connsiteY100" fmla="*/ 345158 h 482156"/>
                <a:gd name="connsiteX101" fmla="*/ 331052 w 468058"/>
                <a:gd name="connsiteY101" fmla="*/ 338109 h 482156"/>
                <a:gd name="connsiteX102" fmla="*/ 344959 w 468058"/>
                <a:gd name="connsiteY102" fmla="*/ 324298 h 482156"/>
                <a:gd name="connsiteX103" fmla="*/ 353150 w 468058"/>
                <a:gd name="connsiteY103" fmla="*/ 306581 h 482156"/>
                <a:gd name="connsiteX104" fmla="*/ 355436 w 468058"/>
                <a:gd name="connsiteY104" fmla="*/ 287055 h 482156"/>
                <a:gd name="connsiteX105" fmla="*/ 356484 w 468058"/>
                <a:gd name="connsiteY105" fmla="*/ 284960 h 482156"/>
                <a:gd name="connsiteX106" fmla="*/ 365437 w 468058"/>
                <a:gd name="connsiteY106" fmla="*/ 277721 h 482156"/>
                <a:gd name="connsiteX107" fmla="*/ 372581 w 468058"/>
                <a:gd name="connsiteY107" fmla="*/ 269720 h 482156"/>
                <a:gd name="connsiteX108" fmla="*/ 372581 w 468058"/>
                <a:gd name="connsiteY108" fmla="*/ 269720 h 482156"/>
                <a:gd name="connsiteX109" fmla="*/ 379630 w 468058"/>
                <a:gd name="connsiteY109" fmla="*/ 256575 h 482156"/>
                <a:gd name="connsiteX110" fmla="*/ 380678 w 468058"/>
                <a:gd name="connsiteY110" fmla="*/ 228857 h 482156"/>
                <a:gd name="connsiteX111" fmla="*/ 375344 w 468058"/>
                <a:gd name="connsiteY111" fmla="*/ 215808 h 482156"/>
                <a:gd name="connsiteX112" fmla="*/ 375344 w 468058"/>
                <a:gd name="connsiteY112" fmla="*/ 215808 h 482156"/>
                <a:gd name="connsiteX113" fmla="*/ 369914 w 468058"/>
                <a:gd name="connsiteY113" fmla="*/ 207998 h 482156"/>
                <a:gd name="connsiteX114" fmla="*/ 363056 w 468058"/>
                <a:gd name="connsiteY114" fmla="*/ 200949 h 482156"/>
                <a:gd name="connsiteX115" fmla="*/ 362294 w 468058"/>
                <a:gd name="connsiteY115" fmla="*/ 198759 h 482156"/>
                <a:gd name="connsiteX116" fmla="*/ 363342 w 468058"/>
                <a:gd name="connsiteY116" fmla="*/ 190662 h 482156"/>
                <a:gd name="connsiteX117" fmla="*/ 363342 w 468058"/>
                <a:gd name="connsiteY117" fmla="*/ 182661 h 482156"/>
                <a:gd name="connsiteX118" fmla="*/ 359246 w 468058"/>
                <a:gd name="connsiteY118" fmla="*/ 167231 h 482156"/>
                <a:gd name="connsiteX119" fmla="*/ 350483 w 468058"/>
                <a:gd name="connsiteY119" fmla="*/ 153324 h 482156"/>
                <a:gd name="connsiteX120" fmla="*/ 339053 w 468058"/>
                <a:gd name="connsiteY120" fmla="*/ 142942 h 482156"/>
                <a:gd name="connsiteX121" fmla="*/ 326004 w 468058"/>
                <a:gd name="connsiteY121" fmla="*/ 136275 h 482156"/>
                <a:gd name="connsiteX122" fmla="*/ 326004 w 468058"/>
                <a:gd name="connsiteY122" fmla="*/ 136275 h 482156"/>
                <a:gd name="connsiteX123" fmla="*/ 318765 w 468058"/>
                <a:gd name="connsiteY123" fmla="*/ 134465 h 482156"/>
                <a:gd name="connsiteX124" fmla="*/ 318765 w 468058"/>
                <a:gd name="connsiteY124" fmla="*/ 134465 h 482156"/>
                <a:gd name="connsiteX125" fmla="*/ 311717 w 468058"/>
                <a:gd name="connsiteY125" fmla="*/ 134465 h 482156"/>
                <a:gd name="connsiteX126" fmla="*/ 309430 w 468058"/>
                <a:gd name="connsiteY126" fmla="*/ 132750 h 482156"/>
                <a:gd name="connsiteX127" fmla="*/ 307906 w 468058"/>
                <a:gd name="connsiteY127" fmla="*/ 127988 h 482156"/>
                <a:gd name="connsiteX128" fmla="*/ 305716 w 468058"/>
                <a:gd name="connsiteY128" fmla="*/ 123416 h 482156"/>
                <a:gd name="connsiteX129" fmla="*/ 297620 w 468058"/>
                <a:gd name="connsiteY129" fmla="*/ 112748 h 482156"/>
                <a:gd name="connsiteX130" fmla="*/ 286380 w 468058"/>
                <a:gd name="connsiteY130" fmla="*/ 104842 h 482156"/>
                <a:gd name="connsiteX131" fmla="*/ 272854 w 468058"/>
                <a:gd name="connsiteY131" fmla="*/ 100556 h 482156"/>
                <a:gd name="connsiteX132" fmla="*/ 259329 w 468058"/>
                <a:gd name="connsiteY132" fmla="*/ 100556 h 482156"/>
                <a:gd name="connsiteX133" fmla="*/ 244756 w 468058"/>
                <a:gd name="connsiteY133" fmla="*/ 107128 h 482156"/>
                <a:gd name="connsiteX134" fmla="*/ 308383 w 468058"/>
                <a:gd name="connsiteY134" fmla="*/ 151134 h 482156"/>
                <a:gd name="connsiteX135" fmla="*/ 310383 w 468058"/>
                <a:gd name="connsiteY135" fmla="*/ 149514 h 482156"/>
                <a:gd name="connsiteX136" fmla="*/ 315431 w 468058"/>
                <a:gd name="connsiteY136" fmla="*/ 149514 h 482156"/>
                <a:gd name="connsiteX137" fmla="*/ 320575 w 468058"/>
                <a:gd name="connsiteY137" fmla="*/ 150848 h 482156"/>
                <a:gd name="connsiteX138" fmla="*/ 330100 w 468058"/>
                <a:gd name="connsiteY138" fmla="*/ 155706 h 482156"/>
                <a:gd name="connsiteX139" fmla="*/ 338387 w 468058"/>
                <a:gd name="connsiteY139" fmla="*/ 163230 h 482156"/>
                <a:gd name="connsiteX140" fmla="*/ 338387 w 468058"/>
                <a:gd name="connsiteY140" fmla="*/ 163230 h 482156"/>
                <a:gd name="connsiteX141" fmla="*/ 344768 w 468058"/>
                <a:gd name="connsiteY141" fmla="*/ 173327 h 482156"/>
                <a:gd name="connsiteX142" fmla="*/ 347721 w 468058"/>
                <a:gd name="connsiteY142" fmla="*/ 184376 h 482156"/>
                <a:gd name="connsiteX143" fmla="*/ 347721 w 468058"/>
                <a:gd name="connsiteY143" fmla="*/ 192377 h 482156"/>
                <a:gd name="connsiteX144" fmla="*/ 345911 w 468058"/>
                <a:gd name="connsiteY144" fmla="*/ 200187 h 482156"/>
                <a:gd name="connsiteX145" fmla="*/ 345911 w 468058"/>
                <a:gd name="connsiteY145" fmla="*/ 200187 h 482156"/>
                <a:gd name="connsiteX146" fmla="*/ 348864 w 468058"/>
                <a:gd name="connsiteY146" fmla="*/ 208950 h 482156"/>
                <a:gd name="connsiteX147" fmla="*/ 348864 w 468058"/>
                <a:gd name="connsiteY147" fmla="*/ 208950 h 482156"/>
                <a:gd name="connsiteX148" fmla="*/ 356103 w 468058"/>
                <a:gd name="connsiteY148" fmla="*/ 215618 h 482156"/>
                <a:gd name="connsiteX149" fmla="*/ 361723 w 468058"/>
                <a:gd name="connsiteY149" fmla="*/ 223238 h 482156"/>
                <a:gd name="connsiteX150" fmla="*/ 365628 w 468058"/>
                <a:gd name="connsiteY150" fmla="*/ 232763 h 482156"/>
                <a:gd name="connsiteX151" fmla="*/ 364961 w 468058"/>
                <a:gd name="connsiteY151" fmla="*/ 251813 h 482156"/>
                <a:gd name="connsiteX152" fmla="*/ 360103 w 468058"/>
                <a:gd name="connsiteY152" fmla="*/ 260671 h 482156"/>
                <a:gd name="connsiteX153" fmla="*/ 360103 w 468058"/>
                <a:gd name="connsiteY153" fmla="*/ 260671 h 482156"/>
                <a:gd name="connsiteX154" fmla="*/ 352864 w 468058"/>
                <a:gd name="connsiteY154" fmla="*/ 268291 h 482156"/>
                <a:gd name="connsiteX155" fmla="*/ 343339 w 468058"/>
                <a:gd name="connsiteY155" fmla="*/ 275054 h 482156"/>
                <a:gd name="connsiteX156" fmla="*/ 343339 w 468058"/>
                <a:gd name="connsiteY156" fmla="*/ 275054 h 482156"/>
                <a:gd name="connsiteX157" fmla="*/ 340196 w 468058"/>
                <a:gd name="connsiteY157" fmla="*/ 278578 h 482156"/>
                <a:gd name="connsiteX158" fmla="*/ 339720 w 468058"/>
                <a:gd name="connsiteY158" fmla="*/ 283245 h 482156"/>
                <a:gd name="connsiteX159" fmla="*/ 339720 w 468058"/>
                <a:gd name="connsiteY159" fmla="*/ 283245 h 482156"/>
                <a:gd name="connsiteX160" fmla="*/ 338958 w 468058"/>
                <a:gd name="connsiteY160" fmla="*/ 300200 h 482156"/>
                <a:gd name="connsiteX161" fmla="*/ 332291 w 468058"/>
                <a:gd name="connsiteY161" fmla="*/ 315345 h 482156"/>
                <a:gd name="connsiteX162" fmla="*/ 324385 w 468058"/>
                <a:gd name="connsiteY162" fmla="*/ 323822 h 482156"/>
                <a:gd name="connsiteX163" fmla="*/ 314860 w 468058"/>
                <a:gd name="connsiteY163" fmla="*/ 328965 h 482156"/>
                <a:gd name="connsiteX164" fmla="*/ 314860 w 468058"/>
                <a:gd name="connsiteY164" fmla="*/ 328965 h 482156"/>
                <a:gd name="connsiteX165" fmla="*/ 312002 w 468058"/>
                <a:gd name="connsiteY165" fmla="*/ 327441 h 482156"/>
                <a:gd name="connsiteX166" fmla="*/ 286952 w 468058"/>
                <a:gd name="connsiteY166" fmla="*/ 301629 h 482156"/>
                <a:gd name="connsiteX167" fmla="*/ 286952 w 468058"/>
                <a:gd name="connsiteY167" fmla="*/ 301629 h 482156"/>
                <a:gd name="connsiteX168" fmla="*/ 281427 w 468058"/>
                <a:gd name="connsiteY168" fmla="*/ 301629 h 482156"/>
                <a:gd name="connsiteX169" fmla="*/ 277236 w 468058"/>
                <a:gd name="connsiteY169" fmla="*/ 305153 h 482156"/>
                <a:gd name="connsiteX170" fmla="*/ 277236 w 468058"/>
                <a:gd name="connsiteY170" fmla="*/ 305153 h 482156"/>
                <a:gd name="connsiteX171" fmla="*/ 277236 w 468058"/>
                <a:gd name="connsiteY171" fmla="*/ 310677 h 482156"/>
                <a:gd name="connsiteX172" fmla="*/ 280855 w 468058"/>
                <a:gd name="connsiteY172" fmla="*/ 314964 h 482156"/>
                <a:gd name="connsiteX173" fmla="*/ 299905 w 468058"/>
                <a:gd name="connsiteY173" fmla="*/ 338205 h 482156"/>
                <a:gd name="connsiteX174" fmla="*/ 296477 w 468058"/>
                <a:gd name="connsiteY174" fmla="*/ 349730 h 482156"/>
                <a:gd name="connsiteX175" fmla="*/ 274760 w 468058"/>
                <a:gd name="connsiteY175" fmla="*/ 365256 h 482156"/>
                <a:gd name="connsiteX176" fmla="*/ 262282 w 468058"/>
                <a:gd name="connsiteY176" fmla="*/ 365256 h 482156"/>
                <a:gd name="connsiteX177" fmla="*/ 247994 w 468058"/>
                <a:gd name="connsiteY177" fmla="*/ 353254 h 482156"/>
                <a:gd name="connsiteX178" fmla="*/ 242470 w 468058"/>
                <a:gd name="connsiteY178" fmla="*/ 336299 h 482156"/>
                <a:gd name="connsiteX179" fmla="*/ 242470 w 468058"/>
                <a:gd name="connsiteY179" fmla="*/ 335728 h 482156"/>
                <a:gd name="connsiteX180" fmla="*/ 237421 w 468058"/>
                <a:gd name="connsiteY180" fmla="*/ 330204 h 482156"/>
                <a:gd name="connsiteX181" fmla="*/ 233516 w 468058"/>
                <a:gd name="connsiteY181" fmla="*/ 329632 h 482156"/>
                <a:gd name="connsiteX182" fmla="*/ 229516 w 468058"/>
                <a:gd name="connsiteY182" fmla="*/ 330204 h 482156"/>
                <a:gd name="connsiteX183" fmla="*/ 224468 w 468058"/>
                <a:gd name="connsiteY183" fmla="*/ 335728 h 482156"/>
                <a:gd name="connsiteX184" fmla="*/ 224468 w 468058"/>
                <a:gd name="connsiteY184" fmla="*/ 336395 h 482156"/>
                <a:gd name="connsiteX185" fmla="*/ 214943 w 468058"/>
                <a:gd name="connsiteY185" fmla="*/ 356397 h 482156"/>
                <a:gd name="connsiteX186" fmla="*/ 200274 w 468058"/>
                <a:gd name="connsiteY186" fmla="*/ 365922 h 482156"/>
                <a:gd name="connsiteX187" fmla="*/ 188653 w 468058"/>
                <a:gd name="connsiteY187" fmla="*/ 365922 h 482156"/>
                <a:gd name="connsiteX188" fmla="*/ 177604 w 468058"/>
                <a:gd name="connsiteY188" fmla="*/ 360493 h 482156"/>
                <a:gd name="connsiteX189" fmla="*/ 169794 w 468058"/>
                <a:gd name="connsiteY189" fmla="*/ 350968 h 482156"/>
                <a:gd name="connsiteX190" fmla="*/ 166936 w 468058"/>
                <a:gd name="connsiteY190" fmla="*/ 340110 h 482156"/>
                <a:gd name="connsiteX191" fmla="*/ 186939 w 468058"/>
                <a:gd name="connsiteY191" fmla="*/ 315249 h 482156"/>
                <a:gd name="connsiteX192" fmla="*/ 190654 w 468058"/>
                <a:gd name="connsiteY192" fmla="*/ 310963 h 482156"/>
                <a:gd name="connsiteX193" fmla="*/ 186272 w 468058"/>
                <a:gd name="connsiteY193" fmla="*/ 301562 h 482156"/>
                <a:gd name="connsiteX194" fmla="*/ 185891 w 468058"/>
                <a:gd name="connsiteY194" fmla="*/ 301438 h 482156"/>
                <a:gd name="connsiteX195" fmla="*/ 180367 w 468058"/>
                <a:gd name="connsiteY195" fmla="*/ 301438 h 482156"/>
                <a:gd name="connsiteX196" fmla="*/ 180367 w 468058"/>
                <a:gd name="connsiteY196" fmla="*/ 301438 h 482156"/>
                <a:gd name="connsiteX197" fmla="*/ 154078 w 468058"/>
                <a:gd name="connsiteY197" fmla="*/ 328298 h 482156"/>
                <a:gd name="connsiteX198" fmla="*/ 151792 w 468058"/>
                <a:gd name="connsiteY198" fmla="*/ 329918 h 482156"/>
                <a:gd name="connsiteX199" fmla="*/ 147696 w 468058"/>
                <a:gd name="connsiteY199" fmla="*/ 329918 h 482156"/>
                <a:gd name="connsiteX200" fmla="*/ 143791 w 468058"/>
                <a:gd name="connsiteY200" fmla="*/ 328870 h 482156"/>
                <a:gd name="connsiteX201" fmla="*/ 134266 w 468058"/>
                <a:gd name="connsiteY201" fmla="*/ 324107 h 482156"/>
                <a:gd name="connsiteX202" fmla="*/ 126170 w 468058"/>
                <a:gd name="connsiteY202" fmla="*/ 316869 h 482156"/>
                <a:gd name="connsiteX203" fmla="*/ 119883 w 468058"/>
                <a:gd name="connsiteY203" fmla="*/ 307344 h 482156"/>
                <a:gd name="connsiteX204" fmla="*/ 116645 w 468058"/>
                <a:gd name="connsiteY204" fmla="*/ 296771 h 482156"/>
                <a:gd name="connsiteX205" fmla="*/ 116645 w 468058"/>
                <a:gd name="connsiteY205" fmla="*/ 296771 h 482156"/>
                <a:gd name="connsiteX206" fmla="*/ 116645 w 468058"/>
                <a:gd name="connsiteY206" fmla="*/ 288198 h 482156"/>
                <a:gd name="connsiteX207" fmla="*/ 118550 w 468058"/>
                <a:gd name="connsiteY207" fmla="*/ 279816 h 482156"/>
                <a:gd name="connsiteX208" fmla="*/ 118550 w 468058"/>
                <a:gd name="connsiteY208" fmla="*/ 279816 h 482156"/>
                <a:gd name="connsiteX209" fmla="*/ 118550 w 468058"/>
                <a:gd name="connsiteY209" fmla="*/ 275054 h 482156"/>
                <a:gd name="connsiteX210" fmla="*/ 118550 w 468058"/>
                <a:gd name="connsiteY210" fmla="*/ 275054 h 482156"/>
                <a:gd name="connsiteX211" fmla="*/ 115597 w 468058"/>
                <a:gd name="connsiteY211" fmla="*/ 271148 h 482156"/>
                <a:gd name="connsiteX212" fmla="*/ 115597 w 468058"/>
                <a:gd name="connsiteY212" fmla="*/ 271148 h 482156"/>
                <a:gd name="connsiteX213" fmla="*/ 108834 w 468058"/>
                <a:gd name="connsiteY213" fmla="*/ 265148 h 482156"/>
                <a:gd name="connsiteX214" fmla="*/ 103500 w 468058"/>
                <a:gd name="connsiteY214" fmla="*/ 258099 h 482156"/>
                <a:gd name="connsiteX215" fmla="*/ 99404 w 468058"/>
                <a:gd name="connsiteY215" fmla="*/ 248574 h 482156"/>
                <a:gd name="connsiteX216" fmla="*/ 98071 w 468058"/>
                <a:gd name="connsiteY216" fmla="*/ 239049 h 482156"/>
                <a:gd name="connsiteX217" fmla="*/ 99785 w 468058"/>
                <a:gd name="connsiteY217" fmla="*/ 229048 h 482156"/>
                <a:gd name="connsiteX218" fmla="*/ 104929 w 468058"/>
                <a:gd name="connsiteY218" fmla="*/ 219523 h 482156"/>
                <a:gd name="connsiteX219" fmla="*/ 111977 w 468058"/>
                <a:gd name="connsiteY219" fmla="*/ 211903 h 482156"/>
                <a:gd name="connsiteX220" fmla="*/ 121502 w 468058"/>
                <a:gd name="connsiteY220" fmla="*/ 205045 h 482156"/>
                <a:gd name="connsiteX221" fmla="*/ 124360 w 468058"/>
                <a:gd name="connsiteY221" fmla="*/ 201902 h 482156"/>
                <a:gd name="connsiteX222" fmla="*/ 124360 w 468058"/>
                <a:gd name="connsiteY222" fmla="*/ 201902 h 482156"/>
                <a:gd name="connsiteX223" fmla="*/ 125027 w 468058"/>
                <a:gd name="connsiteY223" fmla="*/ 197711 h 482156"/>
                <a:gd name="connsiteX224" fmla="*/ 125027 w 468058"/>
                <a:gd name="connsiteY224" fmla="*/ 197711 h 482156"/>
                <a:gd name="connsiteX225" fmla="*/ 125027 w 468058"/>
                <a:gd name="connsiteY225" fmla="*/ 197711 h 482156"/>
                <a:gd name="connsiteX226" fmla="*/ 125027 w 468058"/>
                <a:gd name="connsiteY226" fmla="*/ 193615 h 482156"/>
                <a:gd name="connsiteX227" fmla="*/ 125027 w 468058"/>
                <a:gd name="connsiteY227" fmla="*/ 189329 h 482156"/>
                <a:gd name="connsiteX228" fmla="*/ 127789 w 468058"/>
                <a:gd name="connsiteY228" fmla="*/ 175041 h 482156"/>
                <a:gd name="connsiteX229" fmla="*/ 134933 w 468058"/>
                <a:gd name="connsiteY229" fmla="*/ 162564 h 482156"/>
                <a:gd name="connsiteX230" fmla="*/ 142934 w 468058"/>
                <a:gd name="connsiteY230" fmla="*/ 155229 h 482156"/>
                <a:gd name="connsiteX231" fmla="*/ 151887 w 468058"/>
                <a:gd name="connsiteY231" fmla="*/ 151134 h 482156"/>
                <a:gd name="connsiteX232" fmla="*/ 151887 w 468058"/>
                <a:gd name="connsiteY232" fmla="*/ 151134 h 482156"/>
                <a:gd name="connsiteX233" fmla="*/ 154745 w 468058"/>
                <a:gd name="connsiteY233" fmla="*/ 152658 h 482156"/>
                <a:gd name="connsiteX234" fmla="*/ 166079 w 468058"/>
                <a:gd name="connsiteY234" fmla="*/ 170660 h 482156"/>
                <a:gd name="connsiteX235" fmla="*/ 166079 w 468058"/>
                <a:gd name="connsiteY235" fmla="*/ 170660 h 482156"/>
                <a:gd name="connsiteX236" fmla="*/ 171223 w 468058"/>
                <a:gd name="connsiteY236" fmla="*/ 172469 h 482156"/>
                <a:gd name="connsiteX237" fmla="*/ 176271 w 468058"/>
                <a:gd name="connsiteY237" fmla="*/ 170184 h 482156"/>
                <a:gd name="connsiteX238" fmla="*/ 176271 w 468058"/>
                <a:gd name="connsiteY238" fmla="*/ 170184 h 482156"/>
                <a:gd name="connsiteX239" fmla="*/ 178176 w 468058"/>
                <a:gd name="connsiteY239" fmla="*/ 164945 h 482156"/>
                <a:gd name="connsiteX240" fmla="*/ 175795 w 468058"/>
                <a:gd name="connsiteY240" fmla="*/ 159897 h 482156"/>
                <a:gd name="connsiteX241" fmla="*/ 168651 w 468058"/>
                <a:gd name="connsiteY241" fmla="*/ 148467 h 482156"/>
                <a:gd name="connsiteX242" fmla="*/ 168651 w 468058"/>
                <a:gd name="connsiteY242" fmla="*/ 134084 h 482156"/>
                <a:gd name="connsiteX243" fmla="*/ 173699 w 468058"/>
                <a:gd name="connsiteY243" fmla="*/ 125702 h 482156"/>
                <a:gd name="connsiteX244" fmla="*/ 181319 w 468058"/>
                <a:gd name="connsiteY244" fmla="*/ 119415 h 482156"/>
                <a:gd name="connsiteX245" fmla="*/ 181319 w 468058"/>
                <a:gd name="connsiteY245" fmla="*/ 119415 h 482156"/>
                <a:gd name="connsiteX246" fmla="*/ 190844 w 468058"/>
                <a:gd name="connsiteY246" fmla="*/ 115796 h 482156"/>
                <a:gd name="connsiteX247" fmla="*/ 200369 w 468058"/>
                <a:gd name="connsiteY247" fmla="*/ 115796 h 482156"/>
                <a:gd name="connsiteX248" fmla="*/ 213037 w 468058"/>
                <a:gd name="connsiteY248" fmla="*/ 123225 h 482156"/>
                <a:gd name="connsiteX249" fmla="*/ 221896 w 468058"/>
                <a:gd name="connsiteY249" fmla="*/ 138180 h 482156"/>
                <a:gd name="connsiteX250" fmla="*/ 221896 w 468058"/>
                <a:gd name="connsiteY250" fmla="*/ 138180 h 482156"/>
                <a:gd name="connsiteX251" fmla="*/ 228563 w 468058"/>
                <a:gd name="connsiteY251" fmla="*/ 142847 h 482156"/>
                <a:gd name="connsiteX252" fmla="*/ 232945 w 468058"/>
                <a:gd name="connsiteY252" fmla="*/ 142847 h 482156"/>
                <a:gd name="connsiteX253" fmla="*/ 232945 w 468058"/>
                <a:gd name="connsiteY253" fmla="*/ 142847 h 482156"/>
                <a:gd name="connsiteX254" fmla="*/ 237231 w 468058"/>
                <a:gd name="connsiteY254" fmla="*/ 141990 h 482156"/>
                <a:gd name="connsiteX255" fmla="*/ 241803 w 468058"/>
                <a:gd name="connsiteY255" fmla="*/ 138370 h 482156"/>
                <a:gd name="connsiteX256" fmla="*/ 241803 w 468058"/>
                <a:gd name="connsiteY256" fmla="*/ 137513 h 482156"/>
                <a:gd name="connsiteX257" fmla="*/ 248280 w 468058"/>
                <a:gd name="connsiteY257" fmla="*/ 124178 h 482156"/>
                <a:gd name="connsiteX258" fmla="*/ 262377 w 468058"/>
                <a:gd name="connsiteY258" fmla="*/ 115510 h 482156"/>
                <a:gd name="connsiteX259" fmla="*/ 271045 w 468058"/>
                <a:gd name="connsiteY259" fmla="*/ 115510 h 482156"/>
                <a:gd name="connsiteX260" fmla="*/ 279712 w 468058"/>
                <a:gd name="connsiteY260" fmla="*/ 118272 h 482156"/>
                <a:gd name="connsiteX261" fmla="*/ 279712 w 468058"/>
                <a:gd name="connsiteY261" fmla="*/ 118272 h 482156"/>
                <a:gd name="connsiteX262" fmla="*/ 287333 w 468058"/>
                <a:gd name="connsiteY262" fmla="*/ 123606 h 482156"/>
                <a:gd name="connsiteX263" fmla="*/ 292857 w 468058"/>
                <a:gd name="connsiteY263" fmla="*/ 130750 h 482156"/>
                <a:gd name="connsiteX264" fmla="*/ 295334 w 468058"/>
                <a:gd name="connsiteY264" fmla="*/ 144561 h 482156"/>
                <a:gd name="connsiteX265" fmla="*/ 290952 w 468058"/>
                <a:gd name="connsiteY265" fmla="*/ 155991 h 482156"/>
                <a:gd name="connsiteX266" fmla="*/ 290952 w 468058"/>
                <a:gd name="connsiteY266" fmla="*/ 155991 h 482156"/>
                <a:gd name="connsiteX267" fmla="*/ 289333 w 468058"/>
                <a:gd name="connsiteY267" fmla="*/ 161325 h 482156"/>
                <a:gd name="connsiteX268" fmla="*/ 291714 w 468058"/>
                <a:gd name="connsiteY268" fmla="*/ 166183 h 482156"/>
                <a:gd name="connsiteX269" fmla="*/ 291714 w 468058"/>
                <a:gd name="connsiteY269" fmla="*/ 166183 h 482156"/>
                <a:gd name="connsiteX270" fmla="*/ 296953 w 468058"/>
                <a:gd name="connsiteY270" fmla="*/ 167802 h 482156"/>
                <a:gd name="connsiteX271" fmla="*/ 301715 w 468058"/>
                <a:gd name="connsiteY271" fmla="*/ 165326 h 482156"/>
                <a:gd name="connsiteX272" fmla="*/ 301715 w 468058"/>
                <a:gd name="connsiteY272" fmla="*/ 165326 h 482156"/>
                <a:gd name="connsiteX273" fmla="*/ 308383 w 468058"/>
                <a:gd name="connsiteY273" fmla="*/ 151991 h 482156"/>
                <a:gd name="connsiteX274" fmla="*/ 394108 w 468058"/>
                <a:gd name="connsiteY274" fmla="*/ 343062 h 482156"/>
                <a:gd name="connsiteX275" fmla="*/ 392965 w 468058"/>
                <a:gd name="connsiteY275" fmla="*/ 337062 h 482156"/>
                <a:gd name="connsiteX276" fmla="*/ 394108 w 468058"/>
                <a:gd name="connsiteY276" fmla="*/ 331156 h 482156"/>
                <a:gd name="connsiteX277" fmla="*/ 397442 w 468058"/>
                <a:gd name="connsiteY277" fmla="*/ 326203 h 482156"/>
                <a:gd name="connsiteX278" fmla="*/ 397442 w 468058"/>
                <a:gd name="connsiteY278" fmla="*/ 326203 h 482156"/>
                <a:gd name="connsiteX279" fmla="*/ 400109 w 468058"/>
                <a:gd name="connsiteY279" fmla="*/ 324107 h 482156"/>
                <a:gd name="connsiteX280" fmla="*/ 401728 w 468058"/>
                <a:gd name="connsiteY280" fmla="*/ 323155 h 482156"/>
                <a:gd name="connsiteX281" fmla="*/ 401728 w 468058"/>
                <a:gd name="connsiteY281" fmla="*/ 298295 h 482156"/>
                <a:gd name="connsiteX282" fmla="*/ 371248 w 468058"/>
                <a:gd name="connsiteY282" fmla="*/ 298295 h 482156"/>
                <a:gd name="connsiteX283" fmla="*/ 371248 w 468058"/>
                <a:gd name="connsiteY283" fmla="*/ 293437 h 482156"/>
                <a:gd name="connsiteX284" fmla="*/ 372295 w 468058"/>
                <a:gd name="connsiteY284" fmla="*/ 291151 h 482156"/>
                <a:gd name="connsiteX285" fmla="*/ 380963 w 468058"/>
                <a:gd name="connsiteY285" fmla="*/ 284483 h 482156"/>
                <a:gd name="connsiteX286" fmla="*/ 408586 w 468058"/>
                <a:gd name="connsiteY286" fmla="*/ 284483 h 482156"/>
                <a:gd name="connsiteX287" fmla="*/ 413539 w 468058"/>
                <a:gd name="connsiteY287" fmla="*/ 286484 h 482156"/>
                <a:gd name="connsiteX288" fmla="*/ 415539 w 468058"/>
                <a:gd name="connsiteY288" fmla="*/ 291341 h 482156"/>
                <a:gd name="connsiteX289" fmla="*/ 415539 w 468058"/>
                <a:gd name="connsiteY289" fmla="*/ 323346 h 482156"/>
                <a:gd name="connsiteX290" fmla="*/ 416968 w 468058"/>
                <a:gd name="connsiteY290" fmla="*/ 324107 h 482156"/>
                <a:gd name="connsiteX291" fmla="*/ 419254 w 468058"/>
                <a:gd name="connsiteY291" fmla="*/ 326013 h 482156"/>
                <a:gd name="connsiteX292" fmla="*/ 419254 w 468058"/>
                <a:gd name="connsiteY292" fmla="*/ 326013 h 482156"/>
                <a:gd name="connsiteX293" fmla="*/ 422587 w 468058"/>
                <a:gd name="connsiteY293" fmla="*/ 331061 h 482156"/>
                <a:gd name="connsiteX294" fmla="*/ 423730 w 468058"/>
                <a:gd name="connsiteY294" fmla="*/ 337062 h 482156"/>
                <a:gd name="connsiteX295" fmla="*/ 422587 w 468058"/>
                <a:gd name="connsiteY295" fmla="*/ 342872 h 482156"/>
                <a:gd name="connsiteX296" fmla="*/ 422587 w 468058"/>
                <a:gd name="connsiteY296" fmla="*/ 342872 h 482156"/>
                <a:gd name="connsiteX297" fmla="*/ 419254 w 468058"/>
                <a:gd name="connsiteY297" fmla="*/ 348015 h 482156"/>
                <a:gd name="connsiteX298" fmla="*/ 414110 w 468058"/>
                <a:gd name="connsiteY298" fmla="*/ 351349 h 482156"/>
                <a:gd name="connsiteX299" fmla="*/ 408205 w 468058"/>
                <a:gd name="connsiteY299" fmla="*/ 352492 h 482156"/>
                <a:gd name="connsiteX300" fmla="*/ 402204 w 468058"/>
                <a:gd name="connsiteY300" fmla="*/ 351349 h 482156"/>
                <a:gd name="connsiteX301" fmla="*/ 397156 w 468058"/>
                <a:gd name="connsiteY301" fmla="*/ 348015 h 482156"/>
                <a:gd name="connsiteX302" fmla="*/ 393822 w 468058"/>
                <a:gd name="connsiteY302" fmla="*/ 342872 h 482156"/>
                <a:gd name="connsiteX303" fmla="*/ 438209 w 468058"/>
                <a:gd name="connsiteY303" fmla="*/ 263624 h 482156"/>
                <a:gd name="connsiteX304" fmla="*/ 396870 w 468058"/>
                <a:gd name="connsiteY304" fmla="*/ 263624 h 482156"/>
                <a:gd name="connsiteX305" fmla="*/ 398680 w 468058"/>
                <a:gd name="connsiteY305" fmla="*/ 258956 h 482156"/>
                <a:gd name="connsiteX306" fmla="*/ 401061 w 468058"/>
                <a:gd name="connsiteY306" fmla="*/ 249431 h 482156"/>
                <a:gd name="connsiteX307" fmla="*/ 438209 w 468058"/>
                <a:gd name="connsiteY307" fmla="*/ 249431 h 482156"/>
                <a:gd name="connsiteX308" fmla="*/ 439066 w 468058"/>
                <a:gd name="connsiteY308" fmla="*/ 247907 h 482156"/>
                <a:gd name="connsiteX309" fmla="*/ 441066 w 468058"/>
                <a:gd name="connsiteY309" fmla="*/ 245336 h 482156"/>
                <a:gd name="connsiteX310" fmla="*/ 446210 w 468058"/>
                <a:gd name="connsiteY310" fmla="*/ 242002 h 482156"/>
                <a:gd name="connsiteX311" fmla="*/ 452115 w 468058"/>
                <a:gd name="connsiteY311" fmla="*/ 240859 h 482156"/>
                <a:gd name="connsiteX312" fmla="*/ 457925 w 468058"/>
                <a:gd name="connsiteY312" fmla="*/ 241907 h 482156"/>
                <a:gd name="connsiteX313" fmla="*/ 457925 w 468058"/>
                <a:gd name="connsiteY313" fmla="*/ 241907 h 482156"/>
                <a:gd name="connsiteX314" fmla="*/ 466307 w 468058"/>
                <a:gd name="connsiteY314" fmla="*/ 250289 h 482156"/>
                <a:gd name="connsiteX315" fmla="*/ 466307 w 468058"/>
                <a:gd name="connsiteY315" fmla="*/ 262290 h 482156"/>
                <a:gd name="connsiteX316" fmla="*/ 457925 w 468058"/>
                <a:gd name="connsiteY316" fmla="*/ 270672 h 482156"/>
                <a:gd name="connsiteX317" fmla="*/ 451925 w 468058"/>
                <a:gd name="connsiteY317" fmla="*/ 271815 h 482156"/>
                <a:gd name="connsiteX318" fmla="*/ 446114 w 468058"/>
                <a:gd name="connsiteY318" fmla="*/ 270767 h 482156"/>
                <a:gd name="connsiteX319" fmla="*/ 446114 w 468058"/>
                <a:gd name="connsiteY319" fmla="*/ 270767 h 482156"/>
                <a:gd name="connsiteX320" fmla="*/ 440971 w 468058"/>
                <a:gd name="connsiteY320" fmla="*/ 267434 h 482156"/>
                <a:gd name="connsiteX321" fmla="*/ 438970 w 468058"/>
                <a:gd name="connsiteY321" fmla="*/ 264957 h 482156"/>
                <a:gd name="connsiteX322" fmla="*/ 438970 w 468058"/>
                <a:gd name="connsiteY322" fmla="*/ 264957 h 482156"/>
                <a:gd name="connsiteX323" fmla="*/ 438113 w 468058"/>
                <a:gd name="connsiteY323" fmla="*/ 263433 h 482156"/>
                <a:gd name="connsiteX324" fmla="*/ 451353 w 468058"/>
                <a:gd name="connsiteY324" fmla="*/ 225524 h 482156"/>
                <a:gd name="connsiteX325" fmla="*/ 399346 w 468058"/>
                <a:gd name="connsiteY325" fmla="*/ 225524 h 482156"/>
                <a:gd name="connsiteX326" fmla="*/ 393727 w 468058"/>
                <a:gd name="connsiteY326" fmla="*/ 212856 h 482156"/>
                <a:gd name="connsiteX327" fmla="*/ 393727 w 468058"/>
                <a:gd name="connsiteY327" fmla="*/ 212856 h 482156"/>
                <a:gd name="connsiteX328" fmla="*/ 393060 w 468058"/>
                <a:gd name="connsiteY328" fmla="*/ 211903 h 482156"/>
                <a:gd name="connsiteX329" fmla="*/ 444495 w 468058"/>
                <a:gd name="connsiteY329" fmla="*/ 211903 h 482156"/>
                <a:gd name="connsiteX330" fmla="*/ 444495 w 468058"/>
                <a:gd name="connsiteY330" fmla="*/ 166564 h 482156"/>
                <a:gd name="connsiteX331" fmla="*/ 443257 w 468058"/>
                <a:gd name="connsiteY331" fmla="*/ 165802 h 482156"/>
                <a:gd name="connsiteX332" fmla="*/ 441161 w 468058"/>
                <a:gd name="connsiteY332" fmla="*/ 163992 h 482156"/>
                <a:gd name="connsiteX333" fmla="*/ 437732 w 468058"/>
                <a:gd name="connsiteY333" fmla="*/ 158944 h 482156"/>
                <a:gd name="connsiteX334" fmla="*/ 436589 w 468058"/>
                <a:gd name="connsiteY334" fmla="*/ 153039 h 482156"/>
                <a:gd name="connsiteX335" fmla="*/ 437732 w 468058"/>
                <a:gd name="connsiteY335" fmla="*/ 147038 h 482156"/>
                <a:gd name="connsiteX336" fmla="*/ 446210 w 468058"/>
                <a:gd name="connsiteY336" fmla="*/ 138560 h 482156"/>
                <a:gd name="connsiteX337" fmla="*/ 452210 w 468058"/>
                <a:gd name="connsiteY337" fmla="*/ 137418 h 482156"/>
                <a:gd name="connsiteX338" fmla="*/ 458116 w 468058"/>
                <a:gd name="connsiteY338" fmla="*/ 138560 h 482156"/>
                <a:gd name="connsiteX339" fmla="*/ 466593 w 468058"/>
                <a:gd name="connsiteY339" fmla="*/ 147038 h 482156"/>
                <a:gd name="connsiteX340" fmla="*/ 467736 w 468058"/>
                <a:gd name="connsiteY340" fmla="*/ 153039 h 482156"/>
                <a:gd name="connsiteX341" fmla="*/ 466593 w 468058"/>
                <a:gd name="connsiteY341" fmla="*/ 158849 h 482156"/>
                <a:gd name="connsiteX342" fmla="*/ 466593 w 468058"/>
                <a:gd name="connsiteY342" fmla="*/ 158849 h 482156"/>
                <a:gd name="connsiteX343" fmla="*/ 463164 w 468058"/>
                <a:gd name="connsiteY343" fmla="*/ 163897 h 482156"/>
                <a:gd name="connsiteX344" fmla="*/ 460211 w 468058"/>
                <a:gd name="connsiteY344" fmla="*/ 166278 h 482156"/>
                <a:gd name="connsiteX345" fmla="*/ 458402 w 468058"/>
                <a:gd name="connsiteY345" fmla="*/ 167231 h 482156"/>
                <a:gd name="connsiteX346" fmla="*/ 458402 w 468058"/>
                <a:gd name="connsiteY346" fmla="*/ 218666 h 482156"/>
                <a:gd name="connsiteX347" fmla="*/ 456306 w 468058"/>
                <a:gd name="connsiteY347" fmla="*/ 223619 h 482156"/>
                <a:gd name="connsiteX348" fmla="*/ 451353 w 468058"/>
                <a:gd name="connsiteY348" fmla="*/ 225619 h 482156"/>
                <a:gd name="connsiteX349" fmla="*/ 396965 w 468058"/>
                <a:gd name="connsiteY349" fmla="*/ 192091 h 482156"/>
                <a:gd name="connsiteX350" fmla="*/ 379249 w 468058"/>
                <a:gd name="connsiteY350" fmla="*/ 192091 h 482156"/>
                <a:gd name="connsiteX351" fmla="*/ 380106 w 468058"/>
                <a:gd name="connsiteY351" fmla="*/ 184281 h 482156"/>
                <a:gd name="connsiteX352" fmla="*/ 380106 w 468058"/>
                <a:gd name="connsiteY352" fmla="*/ 178185 h 482156"/>
                <a:gd name="connsiteX353" fmla="*/ 389631 w 468058"/>
                <a:gd name="connsiteY353" fmla="*/ 178185 h 482156"/>
                <a:gd name="connsiteX354" fmla="*/ 389631 w 468058"/>
                <a:gd name="connsiteY354" fmla="*/ 157706 h 482156"/>
                <a:gd name="connsiteX355" fmla="*/ 388107 w 468058"/>
                <a:gd name="connsiteY355" fmla="*/ 156848 h 482156"/>
                <a:gd name="connsiteX356" fmla="*/ 385440 w 468058"/>
                <a:gd name="connsiteY356" fmla="*/ 154658 h 482156"/>
                <a:gd name="connsiteX357" fmla="*/ 385440 w 468058"/>
                <a:gd name="connsiteY357" fmla="*/ 154658 h 482156"/>
                <a:gd name="connsiteX358" fmla="*/ 380963 w 468058"/>
                <a:gd name="connsiteY358" fmla="*/ 143704 h 482156"/>
                <a:gd name="connsiteX359" fmla="*/ 382106 w 468058"/>
                <a:gd name="connsiteY359" fmla="*/ 137703 h 482156"/>
                <a:gd name="connsiteX360" fmla="*/ 385345 w 468058"/>
                <a:gd name="connsiteY360" fmla="*/ 132846 h 482156"/>
                <a:gd name="connsiteX361" fmla="*/ 385345 w 468058"/>
                <a:gd name="connsiteY361" fmla="*/ 132846 h 482156"/>
                <a:gd name="connsiteX362" fmla="*/ 390393 w 468058"/>
                <a:gd name="connsiteY362" fmla="*/ 129512 h 482156"/>
                <a:gd name="connsiteX363" fmla="*/ 402395 w 468058"/>
                <a:gd name="connsiteY363" fmla="*/ 129512 h 482156"/>
                <a:gd name="connsiteX364" fmla="*/ 407252 w 468058"/>
                <a:gd name="connsiteY364" fmla="*/ 132750 h 482156"/>
                <a:gd name="connsiteX365" fmla="*/ 407252 w 468058"/>
                <a:gd name="connsiteY365" fmla="*/ 132750 h 482156"/>
                <a:gd name="connsiteX366" fmla="*/ 410586 w 468058"/>
                <a:gd name="connsiteY366" fmla="*/ 137703 h 482156"/>
                <a:gd name="connsiteX367" fmla="*/ 410586 w 468058"/>
                <a:gd name="connsiteY367" fmla="*/ 137703 h 482156"/>
                <a:gd name="connsiteX368" fmla="*/ 410586 w 468058"/>
                <a:gd name="connsiteY368" fmla="*/ 149705 h 482156"/>
                <a:gd name="connsiteX369" fmla="*/ 407347 w 468058"/>
                <a:gd name="connsiteY369" fmla="*/ 154563 h 482156"/>
                <a:gd name="connsiteX370" fmla="*/ 407347 w 468058"/>
                <a:gd name="connsiteY370" fmla="*/ 154563 h 482156"/>
                <a:gd name="connsiteX371" fmla="*/ 404776 w 468058"/>
                <a:gd name="connsiteY371" fmla="*/ 156563 h 482156"/>
                <a:gd name="connsiteX372" fmla="*/ 403347 w 468058"/>
                <a:gd name="connsiteY372" fmla="*/ 157420 h 482156"/>
                <a:gd name="connsiteX373" fmla="*/ 403347 w 468058"/>
                <a:gd name="connsiteY373" fmla="*/ 184947 h 482156"/>
                <a:gd name="connsiteX374" fmla="*/ 401347 w 468058"/>
                <a:gd name="connsiteY374" fmla="*/ 189805 h 482156"/>
                <a:gd name="connsiteX375" fmla="*/ 396394 w 468058"/>
                <a:gd name="connsiteY375" fmla="*/ 191901 h 482156"/>
                <a:gd name="connsiteX376" fmla="*/ 122169 w 468058"/>
                <a:gd name="connsiteY376" fmla="*/ 73314 h 482156"/>
                <a:gd name="connsiteX377" fmla="*/ 134075 w 468058"/>
                <a:gd name="connsiteY377" fmla="*/ 73314 h 482156"/>
                <a:gd name="connsiteX378" fmla="*/ 138933 w 468058"/>
                <a:gd name="connsiteY378" fmla="*/ 70076 h 482156"/>
                <a:gd name="connsiteX379" fmla="*/ 138933 w 468058"/>
                <a:gd name="connsiteY379" fmla="*/ 70076 h 482156"/>
                <a:gd name="connsiteX380" fmla="*/ 141028 w 468058"/>
                <a:gd name="connsiteY380" fmla="*/ 67409 h 482156"/>
                <a:gd name="connsiteX381" fmla="*/ 141886 w 468058"/>
                <a:gd name="connsiteY381" fmla="*/ 65789 h 482156"/>
                <a:gd name="connsiteX382" fmla="*/ 166651 w 468058"/>
                <a:gd name="connsiteY382" fmla="*/ 65789 h 482156"/>
                <a:gd name="connsiteX383" fmla="*/ 166651 w 468058"/>
                <a:gd name="connsiteY383" fmla="*/ 87126 h 482156"/>
                <a:gd name="connsiteX384" fmla="*/ 180557 w 468058"/>
                <a:gd name="connsiteY384" fmla="*/ 82173 h 482156"/>
                <a:gd name="connsiteX385" fmla="*/ 180557 w 468058"/>
                <a:gd name="connsiteY385" fmla="*/ 58836 h 482156"/>
                <a:gd name="connsiteX386" fmla="*/ 178462 w 468058"/>
                <a:gd name="connsiteY386" fmla="*/ 53883 h 482156"/>
                <a:gd name="connsiteX387" fmla="*/ 173604 w 468058"/>
                <a:gd name="connsiteY387" fmla="*/ 51883 h 482156"/>
                <a:gd name="connsiteX388" fmla="*/ 141695 w 468058"/>
                <a:gd name="connsiteY388" fmla="*/ 51883 h 482156"/>
                <a:gd name="connsiteX389" fmla="*/ 140838 w 468058"/>
                <a:gd name="connsiteY389" fmla="*/ 50454 h 482156"/>
                <a:gd name="connsiteX390" fmla="*/ 138933 w 468058"/>
                <a:gd name="connsiteY390" fmla="*/ 48168 h 482156"/>
                <a:gd name="connsiteX391" fmla="*/ 138933 w 468058"/>
                <a:gd name="connsiteY391" fmla="*/ 48168 h 482156"/>
                <a:gd name="connsiteX392" fmla="*/ 127884 w 468058"/>
                <a:gd name="connsiteY392" fmla="*/ 43596 h 482156"/>
                <a:gd name="connsiteX393" fmla="*/ 122074 w 468058"/>
                <a:gd name="connsiteY393" fmla="*/ 44739 h 482156"/>
                <a:gd name="connsiteX394" fmla="*/ 122074 w 468058"/>
                <a:gd name="connsiteY394" fmla="*/ 44739 h 482156"/>
                <a:gd name="connsiteX395" fmla="*/ 117026 w 468058"/>
                <a:gd name="connsiteY395" fmla="*/ 48168 h 482156"/>
                <a:gd name="connsiteX396" fmla="*/ 113596 w 468058"/>
                <a:gd name="connsiteY396" fmla="*/ 53217 h 482156"/>
                <a:gd name="connsiteX397" fmla="*/ 112453 w 468058"/>
                <a:gd name="connsiteY397" fmla="*/ 59122 h 482156"/>
                <a:gd name="connsiteX398" fmla="*/ 113596 w 468058"/>
                <a:gd name="connsiteY398" fmla="*/ 65123 h 482156"/>
                <a:gd name="connsiteX399" fmla="*/ 117026 w 468058"/>
                <a:gd name="connsiteY399" fmla="*/ 70171 h 482156"/>
                <a:gd name="connsiteX400" fmla="*/ 122169 w 468058"/>
                <a:gd name="connsiteY400" fmla="*/ 73505 h 482156"/>
                <a:gd name="connsiteX401" fmla="*/ 201608 w 468058"/>
                <a:gd name="connsiteY401" fmla="*/ 29309 h 482156"/>
                <a:gd name="connsiteX402" fmla="*/ 201608 w 468058"/>
                <a:gd name="connsiteY402" fmla="*/ 82839 h 482156"/>
                <a:gd name="connsiteX403" fmla="*/ 214943 w 468058"/>
                <a:gd name="connsiteY403" fmla="*/ 89316 h 482156"/>
                <a:gd name="connsiteX404" fmla="*/ 215419 w 468058"/>
                <a:gd name="connsiteY404" fmla="*/ 89316 h 482156"/>
                <a:gd name="connsiteX405" fmla="*/ 215419 w 468058"/>
                <a:gd name="connsiteY405" fmla="*/ 89316 h 482156"/>
                <a:gd name="connsiteX406" fmla="*/ 215419 w 468058"/>
                <a:gd name="connsiteY406" fmla="*/ 29309 h 482156"/>
                <a:gd name="connsiteX407" fmla="*/ 216943 w 468058"/>
                <a:gd name="connsiteY407" fmla="*/ 28452 h 482156"/>
                <a:gd name="connsiteX408" fmla="*/ 219419 w 468058"/>
                <a:gd name="connsiteY408" fmla="*/ 26356 h 482156"/>
                <a:gd name="connsiteX409" fmla="*/ 223991 w 468058"/>
                <a:gd name="connsiteY409" fmla="*/ 15307 h 482156"/>
                <a:gd name="connsiteX410" fmla="*/ 222848 w 468058"/>
                <a:gd name="connsiteY410" fmla="*/ 9497 h 482156"/>
                <a:gd name="connsiteX411" fmla="*/ 222848 w 468058"/>
                <a:gd name="connsiteY411" fmla="*/ 9497 h 482156"/>
                <a:gd name="connsiteX412" fmla="*/ 219419 w 468058"/>
                <a:gd name="connsiteY412" fmla="*/ 4448 h 482156"/>
                <a:gd name="connsiteX413" fmla="*/ 214371 w 468058"/>
                <a:gd name="connsiteY413" fmla="*/ 1019 h 482156"/>
                <a:gd name="connsiteX414" fmla="*/ 208466 w 468058"/>
                <a:gd name="connsiteY414" fmla="*/ -123 h 482156"/>
                <a:gd name="connsiteX415" fmla="*/ 202465 w 468058"/>
                <a:gd name="connsiteY415" fmla="*/ 1019 h 482156"/>
                <a:gd name="connsiteX416" fmla="*/ 197417 w 468058"/>
                <a:gd name="connsiteY416" fmla="*/ 4448 h 482156"/>
                <a:gd name="connsiteX417" fmla="*/ 194083 w 468058"/>
                <a:gd name="connsiteY417" fmla="*/ 9497 h 482156"/>
                <a:gd name="connsiteX418" fmla="*/ 192845 w 468058"/>
                <a:gd name="connsiteY418" fmla="*/ 15402 h 482156"/>
                <a:gd name="connsiteX419" fmla="*/ 193987 w 468058"/>
                <a:gd name="connsiteY419" fmla="*/ 21308 h 482156"/>
                <a:gd name="connsiteX420" fmla="*/ 193987 w 468058"/>
                <a:gd name="connsiteY420" fmla="*/ 21308 h 482156"/>
                <a:gd name="connsiteX421" fmla="*/ 197321 w 468058"/>
                <a:gd name="connsiteY421" fmla="*/ 26356 h 482156"/>
                <a:gd name="connsiteX422" fmla="*/ 199798 w 468058"/>
                <a:gd name="connsiteY422" fmla="*/ 28356 h 482156"/>
                <a:gd name="connsiteX423" fmla="*/ 199798 w 468058"/>
                <a:gd name="connsiteY423" fmla="*/ 28356 h 482156"/>
                <a:gd name="connsiteX424" fmla="*/ 201322 w 468058"/>
                <a:gd name="connsiteY424" fmla="*/ 29214 h 482156"/>
                <a:gd name="connsiteX425" fmla="*/ 239708 w 468058"/>
                <a:gd name="connsiteY425" fmla="*/ 16069 h 482156"/>
                <a:gd name="connsiteX426" fmla="*/ 239708 w 468058"/>
                <a:gd name="connsiteY426" fmla="*/ 94460 h 482156"/>
                <a:gd name="connsiteX427" fmla="*/ 245613 w 468058"/>
                <a:gd name="connsiteY427" fmla="*/ 89316 h 482156"/>
                <a:gd name="connsiteX428" fmla="*/ 253614 w 468058"/>
                <a:gd name="connsiteY428" fmla="*/ 84839 h 482156"/>
                <a:gd name="connsiteX429" fmla="*/ 253614 w 468058"/>
                <a:gd name="connsiteY429" fmla="*/ 23022 h 482156"/>
                <a:gd name="connsiteX430" fmla="*/ 298858 w 468058"/>
                <a:gd name="connsiteY430" fmla="*/ 23022 h 482156"/>
                <a:gd name="connsiteX431" fmla="*/ 299620 w 468058"/>
                <a:gd name="connsiteY431" fmla="*/ 24165 h 482156"/>
                <a:gd name="connsiteX432" fmla="*/ 301429 w 468058"/>
                <a:gd name="connsiteY432" fmla="*/ 26356 h 482156"/>
                <a:gd name="connsiteX433" fmla="*/ 306478 w 468058"/>
                <a:gd name="connsiteY433" fmla="*/ 29690 h 482156"/>
                <a:gd name="connsiteX434" fmla="*/ 312478 w 468058"/>
                <a:gd name="connsiteY434" fmla="*/ 30833 h 482156"/>
                <a:gd name="connsiteX435" fmla="*/ 318384 w 468058"/>
                <a:gd name="connsiteY435" fmla="*/ 29690 h 482156"/>
                <a:gd name="connsiteX436" fmla="*/ 323528 w 468058"/>
                <a:gd name="connsiteY436" fmla="*/ 26356 h 482156"/>
                <a:gd name="connsiteX437" fmla="*/ 326861 w 468058"/>
                <a:gd name="connsiteY437" fmla="*/ 21308 h 482156"/>
                <a:gd name="connsiteX438" fmla="*/ 326861 w 468058"/>
                <a:gd name="connsiteY438" fmla="*/ 9306 h 482156"/>
                <a:gd name="connsiteX439" fmla="*/ 318384 w 468058"/>
                <a:gd name="connsiteY439" fmla="*/ 924 h 482156"/>
                <a:gd name="connsiteX440" fmla="*/ 312383 w 468058"/>
                <a:gd name="connsiteY440" fmla="*/ -219 h 482156"/>
                <a:gd name="connsiteX441" fmla="*/ 306573 w 468058"/>
                <a:gd name="connsiteY441" fmla="*/ 829 h 482156"/>
                <a:gd name="connsiteX442" fmla="*/ 306573 w 468058"/>
                <a:gd name="connsiteY442" fmla="*/ 829 h 482156"/>
                <a:gd name="connsiteX443" fmla="*/ 301525 w 468058"/>
                <a:gd name="connsiteY443" fmla="*/ 4163 h 482156"/>
                <a:gd name="connsiteX444" fmla="*/ 299144 w 468058"/>
                <a:gd name="connsiteY444" fmla="*/ 7115 h 482156"/>
                <a:gd name="connsiteX445" fmla="*/ 298191 w 468058"/>
                <a:gd name="connsiteY445" fmla="*/ 9021 h 482156"/>
                <a:gd name="connsiteX446" fmla="*/ 246756 w 468058"/>
                <a:gd name="connsiteY446" fmla="*/ 9021 h 482156"/>
                <a:gd name="connsiteX447" fmla="*/ 239803 w 468058"/>
                <a:gd name="connsiteY447" fmla="*/ 15783 h 482156"/>
                <a:gd name="connsiteX448" fmla="*/ 239803 w 468058"/>
                <a:gd name="connsiteY448" fmla="*/ 15974 h 482156"/>
                <a:gd name="connsiteX449" fmla="*/ 273236 w 468058"/>
                <a:gd name="connsiteY449" fmla="*/ 70457 h 482156"/>
                <a:gd name="connsiteX450" fmla="*/ 273236 w 468058"/>
                <a:gd name="connsiteY450" fmla="*/ 81220 h 482156"/>
                <a:gd name="connsiteX451" fmla="*/ 277522 w 468058"/>
                <a:gd name="connsiteY451" fmla="*/ 81696 h 482156"/>
                <a:gd name="connsiteX452" fmla="*/ 287047 w 468058"/>
                <a:gd name="connsiteY452" fmla="*/ 84077 h 482156"/>
                <a:gd name="connsiteX453" fmla="*/ 287047 w 468058"/>
                <a:gd name="connsiteY453" fmla="*/ 77505 h 482156"/>
                <a:gd name="connsiteX454" fmla="*/ 307526 w 468058"/>
                <a:gd name="connsiteY454" fmla="*/ 77505 h 482156"/>
                <a:gd name="connsiteX455" fmla="*/ 308478 w 468058"/>
                <a:gd name="connsiteY455" fmla="*/ 79029 h 482156"/>
                <a:gd name="connsiteX456" fmla="*/ 310573 w 468058"/>
                <a:gd name="connsiteY456" fmla="*/ 81696 h 482156"/>
                <a:gd name="connsiteX457" fmla="*/ 310573 w 468058"/>
                <a:gd name="connsiteY457" fmla="*/ 81696 h 482156"/>
                <a:gd name="connsiteX458" fmla="*/ 315622 w 468058"/>
                <a:gd name="connsiteY458" fmla="*/ 85030 h 482156"/>
                <a:gd name="connsiteX459" fmla="*/ 327528 w 468058"/>
                <a:gd name="connsiteY459" fmla="*/ 85030 h 482156"/>
                <a:gd name="connsiteX460" fmla="*/ 332481 w 468058"/>
                <a:gd name="connsiteY460" fmla="*/ 81792 h 482156"/>
                <a:gd name="connsiteX461" fmla="*/ 332481 w 468058"/>
                <a:gd name="connsiteY461" fmla="*/ 81792 h 482156"/>
                <a:gd name="connsiteX462" fmla="*/ 335815 w 468058"/>
                <a:gd name="connsiteY462" fmla="*/ 76743 h 482156"/>
                <a:gd name="connsiteX463" fmla="*/ 335815 w 468058"/>
                <a:gd name="connsiteY463" fmla="*/ 64742 h 482156"/>
                <a:gd name="connsiteX464" fmla="*/ 332576 w 468058"/>
                <a:gd name="connsiteY464" fmla="*/ 59789 h 482156"/>
                <a:gd name="connsiteX465" fmla="*/ 332576 w 468058"/>
                <a:gd name="connsiteY465" fmla="*/ 59789 h 482156"/>
                <a:gd name="connsiteX466" fmla="*/ 327623 w 468058"/>
                <a:gd name="connsiteY466" fmla="*/ 56455 h 482156"/>
                <a:gd name="connsiteX467" fmla="*/ 327623 w 468058"/>
                <a:gd name="connsiteY467" fmla="*/ 56455 h 482156"/>
                <a:gd name="connsiteX468" fmla="*/ 321622 w 468058"/>
                <a:gd name="connsiteY468" fmla="*/ 55217 h 482156"/>
                <a:gd name="connsiteX469" fmla="*/ 315717 w 468058"/>
                <a:gd name="connsiteY469" fmla="*/ 56455 h 482156"/>
                <a:gd name="connsiteX470" fmla="*/ 310764 w 468058"/>
                <a:gd name="connsiteY470" fmla="*/ 59694 h 482156"/>
                <a:gd name="connsiteX471" fmla="*/ 310764 w 468058"/>
                <a:gd name="connsiteY471" fmla="*/ 59694 h 482156"/>
                <a:gd name="connsiteX472" fmla="*/ 308669 w 468058"/>
                <a:gd name="connsiteY472" fmla="*/ 62265 h 482156"/>
                <a:gd name="connsiteX473" fmla="*/ 307906 w 468058"/>
                <a:gd name="connsiteY473" fmla="*/ 63694 h 482156"/>
                <a:gd name="connsiteX474" fmla="*/ 280379 w 468058"/>
                <a:gd name="connsiteY474" fmla="*/ 63694 h 482156"/>
                <a:gd name="connsiteX475" fmla="*/ 273426 w 468058"/>
                <a:gd name="connsiteY475" fmla="*/ 70457 h 482156"/>
                <a:gd name="connsiteX476" fmla="*/ 273426 w 468058"/>
                <a:gd name="connsiteY476" fmla="*/ 70552 h 482156"/>
                <a:gd name="connsiteX477" fmla="*/ 73782 w 468058"/>
                <a:gd name="connsiteY477" fmla="*/ 137894 h 482156"/>
                <a:gd name="connsiteX478" fmla="*/ 73782 w 468058"/>
                <a:gd name="connsiteY478" fmla="*/ 149800 h 482156"/>
                <a:gd name="connsiteX479" fmla="*/ 70448 w 468058"/>
                <a:gd name="connsiteY479" fmla="*/ 154658 h 482156"/>
                <a:gd name="connsiteX480" fmla="*/ 70448 w 468058"/>
                <a:gd name="connsiteY480" fmla="*/ 154658 h 482156"/>
                <a:gd name="connsiteX481" fmla="*/ 67781 w 468058"/>
                <a:gd name="connsiteY481" fmla="*/ 156753 h 482156"/>
                <a:gd name="connsiteX482" fmla="*/ 66162 w 468058"/>
                <a:gd name="connsiteY482" fmla="*/ 157610 h 482156"/>
                <a:gd name="connsiteX483" fmla="*/ 66162 w 468058"/>
                <a:gd name="connsiteY483" fmla="*/ 182376 h 482156"/>
                <a:gd name="connsiteX484" fmla="*/ 91879 w 468058"/>
                <a:gd name="connsiteY484" fmla="*/ 182376 h 482156"/>
                <a:gd name="connsiteX485" fmla="*/ 91879 w 468058"/>
                <a:gd name="connsiteY485" fmla="*/ 183995 h 482156"/>
                <a:gd name="connsiteX486" fmla="*/ 91879 w 468058"/>
                <a:gd name="connsiteY486" fmla="*/ 186948 h 482156"/>
                <a:gd name="connsiteX487" fmla="*/ 90736 w 468058"/>
                <a:gd name="connsiteY487" fmla="*/ 189234 h 482156"/>
                <a:gd name="connsiteX488" fmla="*/ 81688 w 468058"/>
                <a:gd name="connsiteY488" fmla="*/ 196663 h 482156"/>
                <a:gd name="connsiteX489" fmla="*/ 59209 w 468058"/>
                <a:gd name="connsiteY489" fmla="*/ 196663 h 482156"/>
                <a:gd name="connsiteX490" fmla="*/ 54351 w 468058"/>
                <a:gd name="connsiteY490" fmla="*/ 194663 h 482156"/>
                <a:gd name="connsiteX491" fmla="*/ 52255 w 468058"/>
                <a:gd name="connsiteY491" fmla="*/ 189710 h 482156"/>
                <a:gd name="connsiteX492" fmla="*/ 52255 w 468058"/>
                <a:gd name="connsiteY492" fmla="*/ 157801 h 482156"/>
                <a:gd name="connsiteX493" fmla="*/ 50827 w 468058"/>
                <a:gd name="connsiteY493" fmla="*/ 156944 h 482156"/>
                <a:gd name="connsiteX494" fmla="*/ 48541 w 468058"/>
                <a:gd name="connsiteY494" fmla="*/ 155134 h 482156"/>
                <a:gd name="connsiteX495" fmla="*/ 48541 w 468058"/>
                <a:gd name="connsiteY495" fmla="*/ 155134 h 482156"/>
                <a:gd name="connsiteX496" fmla="*/ 45112 w 468058"/>
                <a:gd name="connsiteY496" fmla="*/ 150086 h 482156"/>
                <a:gd name="connsiteX497" fmla="*/ 43969 w 468058"/>
                <a:gd name="connsiteY497" fmla="*/ 144180 h 482156"/>
                <a:gd name="connsiteX498" fmla="*/ 45112 w 468058"/>
                <a:gd name="connsiteY498" fmla="*/ 138275 h 482156"/>
                <a:gd name="connsiteX499" fmla="*/ 45112 w 468058"/>
                <a:gd name="connsiteY499" fmla="*/ 138275 h 482156"/>
                <a:gd name="connsiteX500" fmla="*/ 48541 w 468058"/>
                <a:gd name="connsiteY500" fmla="*/ 133227 h 482156"/>
                <a:gd name="connsiteX501" fmla="*/ 53589 w 468058"/>
                <a:gd name="connsiteY501" fmla="*/ 129893 h 482156"/>
                <a:gd name="connsiteX502" fmla="*/ 59590 w 468058"/>
                <a:gd name="connsiteY502" fmla="*/ 128655 h 482156"/>
                <a:gd name="connsiteX503" fmla="*/ 65495 w 468058"/>
                <a:gd name="connsiteY503" fmla="*/ 129893 h 482156"/>
                <a:gd name="connsiteX504" fmla="*/ 70544 w 468058"/>
                <a:gd name="connsiteY504" fmla="*/ 133227 h 482156"/>
                <a:gd name="connsiteX505" fmla="*/ 73877 w 468058"/>
                <a:gd name="connsiteY505" fmla="*/ 138370 h 482156"/>
                <a:gd name="connsiteX506" fmla="*/ 29681 w 468058"/>
                <a:gd name="connsiteY506" fmla="*/ 217332 h 482156"/>
                <a:gd name="connsiteX507" fmla="*/ 66543 w 468058"/>
                <a:gd name="connsiteY507" fmla="*/ 217332 h 482156"/>
                <a:gd name="connsiteX508" fmla="*/ 64828 w 468058"/>
                <a:gd name="connsiteY508" fmla="*/ 221619 h 482156"/>
                <a:gd name="connsiteX509" fmla="*/ 62543 w 468058"/>
                <a:gd name="connsiteY509" fmla="*/ 231144 h 482156"/>
                <a:gd name="connsiteX510" fmla="*/ 29681 w 468058"/>
                <a:gd name="connsiteY510" fmla="*/ 231144 h 482156"/>
                <a:gd name="connsiteX511" fmla="*/ 28824 w 468058"/>
                <a:gd name="connsiteY511" fmla="*/ 232667 h 482156"/>
                <a:gd name="connsiteX512" fmla="*/ 26824 w 468058"/>
                <a:gd name="connsiteY512" fmla="*/ 235239 h 482156"/>
                <a:gd name="connsiteX513" fmla="*/ 21680 w 468058"/>
                <a:gd name="connsiteY513" fmla="*/ 238573 h 482156"/>
                <a:gd name="connsiteX514" fmla="*/ 15775 w 468058"/>
                <a:gd name="connsiteY514" fmla="*/ 239811 h 482156"/>
                <a:gd name="connsiteX515" fmla="*/ 9869 w 468058"/>
                <a:gd name="connsiteY515" fmla="*/ 238668 h 482156"/>
                <a:gd name="connsiteX516" fmla="*/ 9869 w 468058"/>
                <a:gd name="connsiteY516" fmla="*/ 238668 h 482156"/>
                <a:gd name="connsiteX517" fmla="*/ 1487 w 468058"/>
                <a:gd name="connsiteY517" fmla="*/ 230286 h 482156"/>
                <a:gd name="connsiteX518" fmla="*/ 249 w 468058"/>
                <a:gd name="connsiteY518" fmla="*/ 224286 h 482156"/>
                <a:gd name="connsiteX519" fmla="*/ 1487 w 468058"/>
                <a:gd name="connsiteY519" fmla="*/ 218380 h 482156"/>
                <a:gd name="connsiteX520" fmla="*/ 4821 w 468058"/>
                <a:gd name="connsiteY520" fmla="*/ 213237 h 482156"/>
                <a:gd name="connsiteX521" fmla="*/ 9869 w 468058"/>
                <a:gd name="connsiteY521" fmla="*/ 209903 h 482156"/>
                <a:gd name="connsiteX522" fmla="*/ 15870 w 468058"/>
                <a:gd name="connsiteY522" fmla="*/ 208760 h 482156"/>
                <a:gd name="connsiteX523" fmla="*/ 21680 w 468058"/>
                <a:gd name="connsiteY523" fmla="*/ 209903 h 482156"/>
                <a:gd name="connsiteX524" fmla="*/ 21680 w 468058"/>
                <a:gd name="connsiteY524" fmla="*/ 209903 h 482156"/>
                <a:gd name="connsiteX525" fmla="*/ 26824 w 468058"/>
                <a:gd name="connsiteY525" fmla="*/ 213237 h 482156"/>
                <a:gd name="connsiteX526" fmla="*/ 28824 w 468058"/>
                <a:gd name="connsiteY526" fmla="*/ 215713 h 482156"/>
                <a:gd name="connsiteX527" fmla="*/ 28824 w 468058"/>
                <a:gd name="connsiteY527" fmla="*/ 215713 h 482156"/>
                <a:gd name="connsiteX528" fmla="*/ 29681 w 468058"/>
                <a:gd name="connsiteY528" fmla="*/ 217237 h 482156"/>
                <a:gd name="connsiteX529" fmla="*/ 16537 w 468058"/>
                <a:gd name="connsiteY529" fmla="*/ 255432 h 482156"/>
                <a:gd name="connsiteX530" fmla="*/ 64162 w 468058"/>
                <a:gd name="connsiteY530" fmla="*/ 255432 h 482156"/>
                <a:gd name="connsiteX531" fmla="*/ 70544 w 468058"/>
                <a:gd name="connsiteY531" fmla="*/ 269148 h 482156"/>
                <a:gd name="connsiteX532" fmla="*/ 70544 w 468058"/>
                <a:gd name="connsiteY532" fmla="*/ 269148 h 482156"/>
                <a:gd name="connsiteX533" fmla="*/ 70544 w 468058"/>
                <a:gd name="connsiteY533" fmla="*/ 269148 h 482156"/>
                <a:gd name="connsiteX534" fmla="*/ 22919 w 468058"/>
                <a:gd name="connsiteY534" fmla="*/ 269148 h 482156"/>
                <a:gd name="connsiteX535" fmla="*/ 22919 w 468058"/>
                <a:gd name="connsiteY535" fmla="*/ 314487 h 482156"/>
                <a:gd name="connsiteX536" fmla="*/ 24061 w 468058"/>
                <a:gd name="connsiteY536" fmla="*/ 315154 h 482156"/>
                <a:gd name="connsiteX537" fmla="*/ 26252 w 468058"/>
                <a:gd name="connsiteY537" fmla="*/ 316964 h 482156"/>
                <a:gd name="connsiteX538" fmla="*/ 29681 w 468058"/>
                <a:gd name="connsiteY538" fmla="*/ 322012 h 482156"/>
                <a:gd name="connsiteX539" fmla="*/ 26252 w 468058"/>
                <a:gd name="connsiteY539" fmla="*/ 339062 h 482156"/>
                <a:gd name="connsiteX540" fmla="*/ 21204 w 468058"/>
                <a:gd name="connsiteY540" fmla="*/ 342396 h 482156"/>
                <a:gd name="connsiteX541" fmla="*/ 15203 w 468058"/>
                <a:gd name="connsiteY541" fmla="*/ 343539 h 482156"/>
                <a:gd name="connsiteX542" fmla="*/ 9298 w 468058"/>
                <a:gd name="connsiteY542" fmla="*/ 342396 h 482156"/>
                <a:gd name="connsiteX543" fmla="*/ 4250 w 468058"/>
                <a:gd name="connsiteY543" fmla="*/ 339062 h 482156"/>
                <a:gd name="connsiteX544" fmla="*/ 820 w 468058"/>
                <a:gd name="connsiteY544" fmla="*/ 333918 h 482156"/>
                <a:gd name="connsiteX545" fmla="*/ -322 w 468058"/>
                <a:gd name="connsiteY545" fmla="*/ 327917 h 482156"/>
                <a:gd name="connsiteX546" fmla="*/ 820 w 468058"/>
                <a:gd name="connsiteY546" fmla="*/ 322107 h 482156"/>
                <a:gd name="connsiteX547" fmla="*/ 820 w 468058"/>
                <a:gd name="connsiteY547" fmla="*/ 322107 h 482156"/>
                <a:gd name="connsiteX548" fmla="*/ 4250 w 468058"/>
                <a:gd name="connsiteY548" fmla="*/ 316964 h 482156"/>
                <a:gd name="connsiteX549" fmla="*/ 7202 w 468058"/>
                <a:gd name="connsiteY549" fmla="*/ 314678 h 482156"/>
                <a:gd name="connsiteX550" fmla="*/ 9012 w 468058"/>
                <a:gd name="connsiteY550" fmla="*/ 313725 h 482156"/>
                <a:gd name="connsiteX551" fmla="*/ 9012 w 468058"/>
                <a:gd name="connsiteY551" fmla="*/ 262290 h 482156"/>
                <a:gd name="connsiteX552" fmla="*/ 11108 w 468058"/>
                <a:gd name="connsiteY552" fmla="*/ 257337 h 482156"/>
                <a:gd name="connsiteX553" fmla="*/ 16061 w 468058"/>
                <a:gd name="connsiteY553" fmla="*/ 255337 h 482156"/>
                <a:gd name="connsiteX554" fmla="*/ 70925 w 468058"/>
                <a:gd name="connsiteY554" fmla="*/ 288960 h 482156"/>
                <a:gd name="connsiteX555" fmla="*/ 83307 w 468058"/>
                <a:gd name="connsiteY555" fmla="*/ 288960 h 482156"/>
                <a:gd name="connsiteX556" fmla="*/ 82545 w 468058"/>
                <a:gd name="connsiteY556" fmla="*/ 296580 h 482156"/>
                <a:gd name="connsiteX557" fmla="*/ 82545 w 468058"/>
                <a:gd name="connsiteY557" fmla="*/ 302867 h 482156"/>
                <a:gd name="connsiteX558" fmla="*/ 77211 w 468058"/>
                <a:gd name="connsiteY558" fmla="*/ 302867 h 482156"/>
                <a:gd name="connsiteX559" fmla="*/ 77211 w 468058"/>
                <a:gd name="connsiteY559" fmla="*/ 323346 h 482156"/>
                <a:gd name="connsiteX560" fmla="*/ 78735 w 468058"/>
                <a:gd name="connsiteY560" fmla="*/ 324203 h 482156"/>
                <a:gd name="connsiteX561" fmla="*/ 81402 w 468058"/>
                <a:gd name="connsiteY561" fmla="*/ 326298 h 482156"/>
                <a:gd name="connsiteX562" fmla="*/ 81402 w 468058"/>
                <a:gd name="connsiteY562" fmla="*/ 326298 h 482156"/>
                <a:gd name="connsiteX563" fmla="*/ 84736 w 468058"/>
                <a:gd name="connsiteY563" fmla="*/ 331347 h 482156"/>
                <a:gd name="connsiteX564" fmla="*/ 85879 w 468058"/>
                <a:gd name="connsiteY564" fmla="*/ 337347 h 482156"/>
                <a:gd name="connsiteX565" fmla="*/ 84736 w 468058"/>
                <a:gd name="connsiteY565" fmla="*/ 343253 h 482156"/>
                <a:gd name="connsiteX566" fmla="*/ 81497 w 468058"/>
                <a:gd name="connsiteY566" fmla="*/ 348206 h 482156"/>
                <a:gd name="connsiteX567" fmla="*/ 81497 w 468058"/>
                <a:gd name="connsiteY567" fmla="*/ 348206 h 482156"/>
                <a:gd name="connsiteX568" fmla="*/ 76449 w 468058"/>
                <a:gd name="connsiteY568" fmla="*/ 351540 h 482156"/>
                <a:gd name="connsiteX569" fmla="*/ 64447 w 468058"/>
                <a:gd name="connsiteY569" fmla="*/ 351540 h 482156"/>
                <a:gd name="connsiteX570" fmla="*/ 59590 w 468058"/>
                <a:gd name="connsiteY570" fmla="*/ 348206 h 482156"/>
                <a:gd name="connsiteX571" fmla="*/ 59590 w 468058"/>
                <a:gd name="connsiteY571" fmla="*/ 348206 h 482156"/>
                <a:gd name="connsiteX572" fmla="*/ 56256 w 468058"/>
                <a:gd name="connsiteY572" fmla="*/ 343253 h 482156"/>
                <a:gd name="connsiteX573" fmla="*/ 56256 w 468058"/>
                <a:gd name="connsiteY573" fmla="*/ 343253 h 482156"/>
                <a:gd name="connsiteX574" fmla="*/ 55113 w 468058"/>
                <a:gd name="connsiteY574" fmla="*/ 337347 h 482156"/>
                <a:gd name="connsiteX575" fmla="*/ 56256 w 468058"/>
                <a:gd name="connsiteY575" fmla="*/ 331347 h 482156"/>
                <a:gd name="connsiteX576" fmla="*/ 59495 w 468058"/>
                <a:gd name="connsiteY576" fmla="*/ 326394 h 482156"/>
                <a:gd name="connsiteX577" fmla="*/ 59495 w 468058"/>
                <a:gd name="connsiteY577" fmla="*/ 326394 h 482156"/>
                <a:gd name="connsiteX578" fmla="*/ 62066 w 468058"/>
                <a:gd name="connsiteY578" fmla="*/ 324393 h 482156"/>
                <a:gd name="connsiteX579" fmla="*/ 63495 w 468058"/>
                <a:gd name="connsiteY579" fmla="*/ 323536 h 482156"/>
                <a:gd name="connsiteX580" fmla="*/ 63495 w 468058"/>
                <a:gd name="connsiteY580" fmla="*/ 296009 h 482156"/>
                <a:gd name="connsiteX581" fmla="*/ 65495 w 468058"/>
                <a:gd name="connsiteY581" fmla="*/ 291151 h 482156"/>
                <a:gd name="connsiteX582" fmla="*/ 70448 w 468058"/>
                <a:gd name="connsiteY582" fmla="*/ 289056 h 482156"/>
                <a:gd name="connsiteX583" fmla="*/ 259138 w 468058"/>
                <a:gd name="connsiteY583" fmla="*/ 452409 h 482156"/>
                <a:gd name="connsiteX584" fmla="*/ 259138 w 468058"/>
                <a:gd name="connsiteY584" fmla="*/ 397355 h 482156"/>
                <a:gd name="connsiteX585" fmla="*/ 245327 w 468058"/>
                <a:gd name="connsiteY585" fmla="*/ 389830 h 482156"/>
                <a:gd name="connsiteX586" fmla="*/ 245327 w 468058"/>
                <a:gd name="connsiteY586" fmla="*/ 389830 h 482156"/>
                <a:gd name="connsiteX587" fmla="*/ 245327 w 468058"/>
                <a:gd name="connsiteY587" fmla="*/ 452314 h 482156"/>
                <a:gd name="connsiteX588" fmla="*/ 243803 w 468058"/>
                <a:gd name="connsiteY588" fmla="*/ 453171 h 482156"/>
                <a:gd name="connsiteX589" fmla="*/ 241327 w 468058"/>
                <a:gd name="connsiteY589" fmla="*/ 455267 h 482156"/>
                <a:gd name="connsiteX590" fmla="*/ 236755 w 468058"/>
                <a:gd name="connsiteY590" fmla="*/ 466316 h 482156"/>
                <a:gd name="connsiteX591" fmla="*/ 237898 w 468058"/>
                <a:gd name="connsiteY591" fmla="*/ 472126 h 482156"/>
                <a:gd name="connsiteX592" fmla="*/ 237898 w 468058"/>
                <a:gd name="connsiteY592" fmla="*/ 472126 h 482156"/>
                <a:gd name="connsiteX593" fmla="*/ 241327 w 468058"/>
                <a:gd name="connsiteY593" fmla="*/ 477174 h 482156"/>
                <a:gd name="connsiteX594" fmla="*/ 246375 w 468058"/>
                <a:gd name="connsiteY594" fmla="*/ 480603 h 482156"/>
                <a:gd name="connsiteX595" fmla="*/ 252280 w 468058"/>
                <a:gd name="connsiteY595" fmla="*/ 481746 h 482156"/>
                <a:gd name="connsiteX596" fmla="*/ 258281 w 468058"/>
                <a:gd name="connsiteY596" fmla="*/ 480603 h 482156"/>
                <a:gd name="connsiteX597" fmla="*/ 263329 w 468058"/>
                <a:gd name="connsiteY597" fmla="*/ 477174 h 482156"/>
                <a:gd name="connsiteX598" fmla="*/ 266663 w 468058"/>
                <a:gd name="connsiteY598" fmla="*/ 472126 h 482156"/>
                <a:gd name="connsiteX599" fmla="*/ 267902 w 468058"/>
                <a:gd name="connsiteY599" fmla="*/ 466221 h 482156"/>
                <a:gd name="connsiteX600" fmla="*/ 266759 w 468058"/>
                <a:gd name="connsiteY600" fmla="*/ 460315 h 482156"/>
                <a:gd name="connsiteX601" fmla="*/ 266759 w 468058"/>
                <a:gd name="connsiteY601" fmla="*/ 460315 h 482156"/>
                <a:gd name="connsiteX602" fmla="*/ 263425 w 468058"/>
                <a:gd name="connsiteY602" fmla="*/ 455267 h 482156"/>
                <a:gd name="connsiteX603" fmla="*/ 260948 w 468058"/>
                <a:gd name="connsiteY603" fmla="*/ 453266 h 482156"/>
                <a:gd name="connsiteX604" fmla="*/ 260948 w 468058"/>
                <a:gd name="connsiteY604" fmla="*/ 453266 h 482156"/>
                <a:gd name="connsiteX605" fmla="*/ 259424 w 468058"/>
                <a:gd name="connsiteY605" fmla="*/ 452409 h 482156"/>
                <a:gd name="connsiteX606" fmla="*/ 221038 w 468058"/>
                <a:gd name="connsiteY606" fmla="*/ 465554 h 482156"/>
                <a:gd name="connsiteX607" fmla="*/ 221038 w 468058"/>
                <a:gd name="connsiteY607" fmla="*/ 386496 h 482156"/>
                <a:gd name="connsiteX608" fmla="*/ 215895 w 468058"/>
                <a:gd name="connsiteY608" fmla="*/ 391068 h 482156"/>
                <a:gd name="connsiteX609" fmla="*/ 207132 w 468058"/>
                <a:gd name="connsiteY609" fmla="*/ 396212 h 482156"/>
                <a:gd name="connsiteX610" fmla="*/ 207132 w 468058"/>
                <a:gd name="connsiteY610" fmla="*/ 458696 h 482156"/>
                <a:gd name="connsiteX611" fmla="*/ 161888 w 468058"/>
                <a:gd name="connsiteY611" fmla="*/ 458696 h 482156"/>
                <a:gd name="connsiteX612" fmla="*/ 161126 w 468058"/>
                <a:gd name="connsiteY612" fmla="*/ 457553 h 482156"/>
                <a:gd name="connsiteX613" fmla="*/ 159317 w 468058"/>
                <a:gd name="connsiteY613" fmla="*/ 455362 h 482156"/>
                <a:gd name="connsiteX614" fmla="*/ 154268 w 468058"/>
                <a:gd name="connsiteY614" fmla="*/ 452028 h 482156"/>
                <a:gd name="connsiteX615" fmla="*/ 148268 w 468058"/>
                <a:gd name="connsiteY615" fmla="*/ 450790 h 482156"/>
                <a:gd name="connsiteX616" fmla="*/ 142362 w 468058"/>
                <a:gd name="connsiteY616" fmla="*/ 452028 h 482156"/>
                <a:gd name="connsiteX617" fmla="*/ 137314 w 468058"/>
                <a:gd name="connsiteY617" fmla="*/ 455362 h 482156"/>
                <a:gd name="connsiteX618" fmla="*/ 133885 w 468058"/>
                <a:gd name="connsiteY618" fmla="*/ 460410 h 482156"/>
                <a:gd name="connsiteX619" fmla="*/ 133885 w 468058"/>
                <a:gd name="connsiteY619" fmla="*/ 472412 h 482156"/>
                <a:gd name="connsiteX620" fmla="*/ 137314 w 468058"/>
                <a:gd name="connsiteY620" fmla="*/ 477460 h 482156"/>
                <a:gd name="connsiteX621" fmla="*/ 142362 w 468058"/>
                <a:gd name="connsiteY621" fmla="*/ 480794 h 482156"/>
                <a:gd name="connsiteX622" fmla="*/ 148268 w 468058"/>
                <a:gd name="connsiteY622" fmla="*/ 481937 h 482156"/>
                <a:gd name="connsiteX623" fmla="*/ 154173 w 468058"/>
                <a:gd name="connsiteY623" fmla="*/ 480794 h 482156"/>
                <a:gd name="connsiteX624" fmla="*/ 154173 w 468058"/>
                <a:gd name="connsiteY624" fmla="*/ 480794 h 482156"/>
                <a:gd name="connsiteX625" fmla="*/ 159221 w 468058"/>
                <a:gd name="connsiteY625" fmla="*/ 477460 h 482156"/>
                <a:gd name="connsiteX626" fmla="*/ 161507 w 468058"/>
                <a:gd name="connsiteY626" fmla="*/ 474507 h 482156"/>
                <a:gd name="connsiteX627" fmla="*/ 162555 w 468058"/>
                <a:gd name="connsiteY627" fmla="*/ 472602 h 482156"/>
                <a:gd name="connsiteX628" fmla="*/ 213990 w 468058"/>
                <a:gd name="connsiteY628" fmla="*/ 472602 h 482156"/>
                <a:gd name="connsiteX629" fmla="*/ 218848 w 468058"/>
                <a:gd name="connsiteY629" fmla="*/ 470602 h 482156"/>
                <a:gd name="connsiteX630" fmla="*/ 220943 w 468058"/>
                <a:gd name="connsiteY630" fmla="*/ 465554 h 482156"/>
                <a:gd name="connsiteX631" fmla="*/ 187606 w 468058"/>
                <a:gd name="connsiteY631" fmla="*/ 411166 h 482156"/>
                <a:gd name="connsiteX632" fmla="*/ 187606 w 468058"/>
                <a:gd name="connsiteY632" fmla="*/ 399736 h 482156"/>
                <a:gd name="connsiteX633" fmla="*/ 178081 w 468058"/>
                <a:gd name="connsiteY633" fmla="*/ 398403 h 482156"/>
                <a:gd name="connsiteX634" fmla="*/ 173318 w 468058"/>
                <a:gd name="connsiteY634" fmla="*/ 396974 h 482156"/>
                <a:gd name="connsiteX635" fmla="*/ 173318 w 468058"/>
                <a:gd name="connsiteY635" fmla="*/ 404308 h 482156"/>
                <a:gd name="connsiteX636" fmla="*/ 152839 w 468058"/>
                <a:gd name="connsiteY636" fmla="*/ 404308 h 482156"/>
                <a:gd name="connsiteX637" fmla="*/ 151887 w 468058"/>
                <a:gd name="connsiteY637" fmla="*/ 402689 h 482156"/>
                <a:gd name="connsiteX638" fmla="*/ 149792 w 468058"/>
                <a:gd name="connsiteY638" fmla="*/ 400117 h 482156"/>
                <a:gd name="connsiteX639" fmla="*/ 149792 w 468058"/>
                <a:gd name="connsiteY639" fmla="*/ 400117 h 482156"/>
                <a:gd name="connsiteX640" fmla="*/ 144743 w 468058"/>
                <a:gd name="connsiteY640" fmla="*/ 396688 h 482156"/>
                <a:gd name="connsiteX641" fmla="*/ 138838 w 468058"/>
                <a:gd name="connsiteY641" fmla="*/ 395545 h 482156"/>
                <a:gd name="connsiteX642" fmla="*/ 132837 w 468058"/>
                <a:gd name="connsiteY642" fmla="*/ 396688 h 482156"/>
                <a:gd name="connsiteX643" fmla="*/ 127884 w 468058"/>
                <a:gd name="connsiteY643" fmla="*/ 399927 h 482156"/>
                <a:gd name="connsiteX644" fmla="*/ 127884 w 468058"/>
                <a:gd name="connsiteY644" fmla="*/ 399927 h 482156"/>
                <a:gd name="connsiteX645" fmla="*/ 124550 w 468058"/>
                <a:gd name="connsiteY645" fmla="*/ 404975 h 482156"/>
                <a:gd name="connsiteX646" fmla="*/ 124550 w 468058"/>
                <a:gd name="connsiteY646" fmla="*/ 416976 h 482156"/>
                <a:gd name="connsiteX647" fmla="*/ 127789 w 468058"/>
                <a:gd name="connsiteY647" fmla="*/ 421834 h 482156"/>
                <a:gd name="connsiteX648" fmla="*/ 127789 w 468058"/>
                <a:gd name="connsiteY648" fmla="*/ 421834 h 482156"/>
                <a:gd name="connsiteX649" fmla="*/ 132742 w 468058"/>
                <a:gd name="connsiteY649" fmla="*/ 425168 h 482156"/>
                <a:gd name="connsiteX650" fmla="*/ 132742 w 468058"/>
                <a:gd name="connsiteY650" fmla="*/ 425168 h 482156"/>
                <a:gd name="connsiteX651" fmla="*/ 138743 w 468058"/>
                <a:gd name="connsiteY651" fmla="*/ 426311 h 482156"/>
                <a:gd name="connsiteX652" fmla="*/ 144648 w 468058"/>
                <a:gd name="connsiteY652" fmla="*/ 425168 h 482156"/>
                <a:gd name="connsiteX653" fmla="*/ 149982 w 468058"/>
                <a:gd name="connsiteY653" fmla="*/ 422120 h 482156"/>
                <a:gd name="connsiteX654" fmla="*/ 149982 w 468058"/>
                <a:gd name="connsiteY654" fmla="*/ 422120 h 482156"/>
                <a:gd name="connsiteX655" fmla="*/ 151982 w 468058"/>
                <a:gd name="connsiteY655" fmla="*/ 419548 h 482156"/>
                <a:gd name="connsiteX656" fmla="*/ 152839 w 468058"/>
                <a:gd name="connsiteY656" fmla="*/ 418119 h 482156"/>
                <a:gd name="connsiteX657" fmla="*/ 180367 w 468058"/>
                <a:gd name="connsiteY657" fmla="*/ 418119 h 482156"/>
                <a:gd name="connsiteX658" fmla="*/ 185225 w 468058"/>
                <a:gd name="connsiteY658" fmla="*/ 416119 h 482156"/>
                <a:gd name="connsiteX659" fmla="*/ 187320 w 468058"/>
                <a:gd name="connsiteY659" fmla="*/ 411166 h 48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</a:cxnLst>
              <a:rect l="l" t="t" r="r" b="b"/>
              <a:pathLst>
                <a:path w="468058" h="482156">
                  <a:moveTo>
                    <a:pt x="338291" y="408118"/>
                  </a:moveTo>
                  <a:cubicBezTo>
                    <a:pt x="336415" y="407347"/>
                    <a:pt x="334415" y="406956"/>
                    <a:pt x="332386" y="406975"/>
                  </a:cubicBezTo>
                  <a:cubicBezTo>
                    <a:pt x="330328" y="406965"/>
                    <a:pt x="328290" y="407356"/>
                    <a:pt x="326385" y="408118"/>
                  </a:cubicBezTo>
                  <a:cubicBezTo>
                    <a:pt x="324556" y="408880"/>
                    <a:pt x="322899" y="410014"/>
                    <a:pt x="321527" y="411452"/>
                  </a:cubicBezTo>
                  <a:lnTo>
                    <a:pt x="321527" y="411452"/>
                  </a:lnTo>
                  <a:cubicBezTo>
                    <a:pt x="320670" y="412233"/>
                    <a:pt x="319936" y="413128"/>
                    <a:pt x="319337" y="414119"/>
                  </a:cubicBezTo>
                  <a:lnTo>
                    <a:pt x="318479" y="415738"/>
                  </a:lnTo>
                  <a:lnTo>
                    <a:pt x="293714" y="415738"/>
                  </a:lnTo>
                  <a:lnTo>
                    <a:pt x="293714" y="394212"/>
                  </a:lnTo>
                  <a:cubicBezTo>
                    <a:pt x="289962" y="396021"/>
                    <a:pt x="285989" y="397336"/>
                    <a:pt x="281903" y="398117"/>
                  </a:cubicBezTo>
                  <a:lnTo>
                    <a:pt x="279808" y="398593"/>
                  </a:lnTo>
                  <a:lnTo>
                    <a:pt x="279808" y="422596"/>
                  </a:lnTo>
                  <a:cubicBezTo>
                    <a:pt x="279817" y="424463"/>
                    <a:pt x="280570" y="426244"/>
                    <a:pt x="281903" y="427549"/>
                  </a:cubicBezTo>
                  <a:cubicBezTo>
                    <a:pt x="283189" y="428835"/>
                    <a:pt x="284942" y="429549"/>
                    <a:pt x="286761" y="429549"/>
                  </a:cubicBezTo>
                  <a:lnTo>
                    <a:pt x="318670" y="429549"/>
                  </a:lnTo>
                  <a:lnTo>
                    <a:pt x="319527" y="430978"/>
                  </a:lnTo>
                  <a:cubicBezTo>
                    <a:pt x="320060" y="431826"/>
                    <a:pt x="320699" y="432588"/>
                    <a:pt x="321432" y="433264"/>
                  </a:cubicBezTo>
                  <a:lnTo>
                    <a:pt x="321432" y="433264"/>
                  </a:lnTo>
                  <a:cubicBezTo>
                    <a:pt x="322899" y="434674"/>
                    <a:pt x="324604" y="435807"/>
                    <a:pt x="326480" y="436598"/>
                  </a:cubicBezTo>
                  <a:cubicBezTo>
                    <a:pt x="328385" y="437379"/>
                    <a:pt x="330424" y="437769"/>
                    <a:pt x="332481" y="437741"/>
                  </a:cubicBezTo>
                  <a:cubicBezTo>
                    <a:pt x="334472" y="437750"/>
                    <a:pt x="336453" y="437360"/>
                    <a:pt x="338291" y="436598"/>
                  </a:cubicBezTo>
                  <a:lnTo>
                    <a:pt x="338291" y="436598"/>
                  </a:lnTo>
                  <a:cubicBezTo>
                    <a:pt x="340168" y="435807"/>
                    <a:pt x="341873" y="434674"/>
                    <a:pt x="343339" y="433264"/>
                  </a:cubicBezTo>
                  <a:cubicBezTo>
                    <a:pt x="344835" y="431807"/>
                    <a:pt x="345997" y="430054"/>
                    <a:pt x="346769" y="428121"/>
                  </a:cubicBezTo>
                  <a:cubicBezTo>
                    <a:pt x="347540" y="426244"/>
                    <a:pt x="347931" y="424244"/>
                    <a:pt x="347912" y="422215"/>
                  </a:cubicBezTo>
                  <a:cubicBezTo>
                    <a:pt x="347921" y="420158"/>
                    <a:pt x="347530" y="418119"/>
                    <a:pt x="346769" y="416214"/>
                  </a:cubicBezTo>
                  <a:cubicBezTo>
                    <a:pt x="345978" y="414319"/>
                    <a:pt x="344806" y="412604"/>
                    <a:pt x="343339" y="411166"/>
                  </a:cubicBezTo>
                  <a:cubicBezTo>
                    <a:pt x="341854" y="409737"/>
                    <a:pt x="340111" y="408604"/>
                    <a:pt x="338196" y="407832"/>
                  </a:cubicBezTo>
                  <a:close/>
                  <a:moveTo>
                    <a:pt x="225229" y="261052"/>
                  </a:moveTo>
                  <a:lnTo>
                    <a:pt x="196654" y="261052"/>
                  </a:lnTo>
                  <a:lnTo>
                    <a:pt x="192463" y="274673"/>
                  </a:lnTo>
                  <a:lnTo>
                    <a:pt x="166365" y="274673"/>
                  </a:lnTo>
                  <a:lnTo>
                    <a:pt x="197512" y="191901"/>
                  </a:lnTo>
                  <a:lnTo>
                    <a:pt x="225515" y="191901"/>
                  </a:lnTo>
                  <a:lnTo>
                    <a:pt x="256567" y="274673"/>
                  </a:lnTo>
                  <a:lnTo>
                    <a:pt x="229802" y="274673"/>
                  </a:lnTo>
                  <a:lnTo>
                    <a:pt x="225706" y="261052"/>
                  </a:lnTo>
                  <a:close/>
                  <a:moveTo>
                    <a:pt x="219800" y="243145"/>
                  </a:moveTo>
                  <a:lnTo>
                    <a:pt x="210752" y="213332"/>
                  </a:lnTo>
                  <a:lnTo>
                    <a:pt x="201227" y="243145"/>
                  </a:lnTo>
                  <a:close/>
                  <a:moveTo>
                    <a:pt x="263329" y="191805"/>
                  </a:moveTo>
                  <a:lnTo>
                    <a:pt x="289047" y="191805"/>
                  </a:lnTo>
                  <a:lnTo>
                    <a:pt x="289047" y="274673"/>
                  </a:lnTo>
                  <a:lnTo>
                    <a:pt x="263329" y="274673"/>
                  </a:lnTo>
                  <a:lnTo>
                    <a:pt x="263329" y="191805"/>
                  </a:lnTo>
                  <a:close/>
                  <a:moveTo>
                    <a:pt x="244279" y="106938"/>
                  </a:moveTo>
                  <a:cubicBezTo>
                    <a:pt x="239641" y="110309"/>
                    <a:pt x="235697" y="114548"/>
                    <a:pt x="232659" y="119415"/>
                  </a:cubicBezTo>
                  <a:cubicBezTo>
                    <a:pt x="232545" y="119720"/>
                    <a:pt x="232297" y="119968"/>
                    <a:pt x="231992" y="120082"/>
                  </a:cubicBezTo>
                  <a:cubicBezTo>
                    <a:pt x="230935" y="120758"/>
                    <a:pt x="229535" y="120463"/>
                    <a:pt x="228849" y="119415"/>
                  </a:cubicBezTo>
                  <a:cubicBezTo>
                    <a:pt x="225849" y="114558"/>
                    <a:pt x="221934" y="110319"/>
                    <a:pt x="217324" y="106938"/>
                  </a:cubicBezTo>
                  <a:cubicBezTo>
                    <a:pt x="213019" y="103794"/>
                    <a:pt x="208075" y="101613"/>
                    <a:pt x="202846" y="100556"/>
                  </a:cubicBezTo>
                  <a:lnTo>
                    <a:pt x="202846" y="100556"/>
                  </a:lnTo>
                  <a:cubicBezTo>
                    <a:pt x="197940" y="99603"/>
                    <a:pt x="192892" y="99603"/>
                    <a:pt x="187987" y="100556"/>
                  </a:cubicBezTo>
                  <a:cubicBezTo>
                    <a:pt x="182843" y="101470"/>
                    <a:pt x="177909" y="103318"/>
                    <a:pt x="173413" y="105985"/>
                  </a:cubicBezTo>
                  <a:cubicBezTo>
                    <a:pt x="168984" y="108490"/>
                    <a:pt x="164993" y="111710"/>
                    <a:pt x="161603" y="115510"/>
                  </a:cubicBezTo>
                  <a:cubicBezTo>
                    <a:pt x="158364" y="119215"/>
                    <a:pt x="155811" y="123473"/>
                    <a:pt x="154078" y="128083"/>
                  </a:cubicBezTo>
                  <a:lnTo>
                    <a:pt x="154078" y="128083"/>
                  </a:lnTo>
                  <a:cubicBezTo>
                    <a:pt x="153811" y="128836"/>
                    <a:pt x="153592" y="129598"/>
                    <a:pt x="153411" y="130369"/>
                  </a:cubicBezTo>
                  <a:cubicBezTo>
                    <a:pt x="153116" y="131112"/>
                    <a:pt x="152897" y="131874"/>
                    <a:pt x="152744" y="132655"/>
                  </a:cubicBezTo>
                  <a:cubicBezTo>
                    <a:pt x="152506" y="133646"/>
                    <a:pt x="151658" y="134369"/>
                    <a:pt x="150649" y="134465"/>
                  </a:cubicBezTo>
                  <a:cubicBezTo>
                    <a:pt x="145229" y="135303"/>
                    <a:pt x="140019" y="137179"/>
                    <a:pt x="135313" y="139989"/>
                  </a:cubicBezTo>
                  <a:cubicBezTo>
                    <a:pt x="130179" y="143113"/>
                    <a:pt x="125608" y="147076"/>
                    <a:pt x="121788" y="151705"/>
                  </a:cubicBezTo>
                  <a:cubicBezTo>
                    <a:pt x="117692" y="156715"/>
                    <a:pt x="114473" y="162383"/>
                    <a:pt x="112263" y="168469"/>
                  </a:cubicBezTo>
                  <a:cubicBezTo>
                    <a:pt x="109996" y="174575"/>
                    <a:pt x="108710" y="181004"/>
                    <a:pt x="108453" y="187519"/>
                  </a:cubicBezTo>
                  <a:cubicBezTo>
                    <a:pt x="108405" y="188405"/>
                    <a:pt x="108405" y="189300"/>
                    <a:pt x="108453" y="190186"/>
                  </a:cubicBezTo>
                  <a:cubicBezTo>
                    <a:pt x="108453" y="191043"/>
                    <a:pt x="108453" y="191901"/>
                    <a:pt x="108453" y="192853"/>
                  </a:cubicBezTo>
                  <a:cubicBezTo>
                    <a:pt x="108472" y="193634"/>
                    <a:pt x="108120" y="194377"/>
                    <a:pt x="107501" y="194853"/>
                  </a:cubicBezTo>
                  <a:cubicBezTo>
                    <a:pt x="104424" y="197035"/>
                    <a:pt x="101490" y="199425"/>
                    <a:pt x="98737" y="201997"/>
                  </a:cubicBezTo>
                  <a:cubicBezTo>
                    <a:pt x="96213" y="204445"/>
                    <a:pt x="93889" y="207093"/>
                    <a:pt x="91784" y="209903"/>
                  </a:cubicBezTo>
                  <a:cubicBezTo>
                    <a:pt x="88689" y="214084"/>
                    <a:pt x="86250" y="218704"/>
                    <a:pt x="84545" y="223619"/>
                  </a:cubicBezTo>
                  <a:cubicBezTo>
                    <a:pt x="82945" y="228381"/>
                    <a:pt x="82078" y="233363"/>
                    <a:pt x="81973" y="238382"/>
                  </a:cubicBezTo>
                  <a:cubicBezTo>
                    <a:pt x="81935" y="243050"/>
                    <a:pt x="82583" y="247707"/>
                    <a:pt x="83878" y="252194"/>
                  </a:cubicBezTo>
                  <a:cubicBezTo>
                    <a:pt x="85288" y="256851"/>
                    <a:pt x="87298" y="261309"/>
                    <a:pt x="89879" y="265433"/>
                  </a:cubicBezTo>
                  <a:lnTo>
                    <a:pt x="89879" y="265433"/>
                  </a:lnTo>
                  <a:cubicBezTo>
                    <a:pt x="91422" y="267853"/>
                    <a:pt x="93108" y="270167"/>
                    <a:pt x="94928" y="272387"/>
                  </a:cubicBezTo>
                  <a:cubicBezTo>
                    <a:pt x="96833" y="274625"/>
                    <a:pt x="98871" y="276759"/>
                    <a:pt x="101023" y="278769"/>
                  </a:cubicBezTo>
                  <a:cubicBezTo>
                    <a:pt x="101604" y="279302"/>
                    <a:pt x="101890" y="280083"/>
                    <a:pt x="101786" y="280864"/>
                  </a:cubicBezTo>
                  <a:cubicBezTo>
                    <a:pt x="101157" y="283779"/>
                    <a:pt x="100804" y="286741"/>
                    <a:pt x="100738" y="289722"/>
                  </a:cubicBezTo>
                  <a:cubicBezTo>
                    <a:pt x="100500" y="292637"/>
                    <a:pt x="100500" y="295571"/>
                    <a:pt x="100738" y="298485"/>
                  </a:cubicBezTo>
                  <a:cubicBezTo>
                    <a:pt x="101471" y="303638"/>
                    <a:pt x="102986" y="308649"/>
                    <a:pt x="105214" y="313344"/>
                  </a:cubicBezTo>
                  <a:cubicBezTo>
                    <a:pt x="107472" y="318202"/>
                    <a:pt x="110386" y="322717"/>
                    <a:pt x="113882" y="326774"/>
                  </a:cubicBezTo>
                  <a:cubicBezTo>
                    <a:pt x="117159" y="330604"/>
                    <a:pt x="120940" y="333966"/>
                    <a:pt x="125122" y="336776"/>
                  </a:cubicBezTo>
                  <a:cubicBezTo>
                    <a:pt x="129113" y="339567"/>
                    <a:pt x="133475" y="341776"/>
                    <a:pt x="138076" y="343348"/>
                  </a:cubicBezTo>
                  <a:cubicBezTo>
                    <a:pt x="140067" y="344034"/>
                    <a:pt x="142105" y="344577"/>
                    <a:pt x="144172" y="344967"/>
                  </a:cubicBezTo>
                  <a:cubicBezTo>
                    <a:pt x="146115" y="345377"/>
                    <a:pt x="148096" y="345596"/>
                    <a:pt x="150077" y="345634"/>
                  </a:cubicBezTo>
                  <a:cubicBezTo>
                    <a:pt x="151153" y="345682"/>
                    <a:pt x="152078" y="346406"/>
                    <a:pt x="152363" y="347444"/>
                  </a:cubicBezTo>
                  <a:cubicBezTo>
                    <a:pt x="153344" y="352092"/>
                    <a:pt x="155183" y="356521"/>
                    <a:pt x="157793" y="360493"/>
                  </a:cubicBezTo>
                  <a:cubicBezTo>
                    <a:pt x="160536" y="364674"/>
                    <a:pt x="163946" y="368370"/>
                    <a:pt x="167889" y="371447"/>
                  </a:cubicBezTo>
                  <a:cubicBezTo>
                    <a:pt x="172871" y="375333"/>
                    <a:pt x="178614" y="378124"/>
                    <a:pt x="184748" y="379638"/>
                  </a:cubicBezTo>
                  <a:cubicBezTo>
                    <a:pt x="190559" y="381229"/>
                    <a:pt x="196674" y="381391"/>
                    <a:pt x="202560" y="380115"/>
                  </a:cubicBezTo>
                  <a:cubicBezTo>
                    <a:pt x="208103" y="379000"/>
                    <a:pt x="213323" y="376619"/>
                    <a:pt x="217800" y="373161"/>
                  </a:cubicBezTo>
                  <a:cubicBezTo>
                    <a:pt x="222620" y="369437"/>
                    <a:pt x="226658" y="364808"/>
                    <a:pt x="229706" y="359540"/>
                  </a:cubicBezTo>
                  <a:cubicBezTo>
                    <a:pt x="229925" y="359217"/>
                    <a:pt x="230221" y="358959"/>
                    <a:pt x="230563" y="358779"/>
                  </a:cubicBezTo>
                  <a:cubicBezTo>
                    <a:pt x="231602" y="358159"/>
                    <a:pt x="232945" y="358512"/>
                    <a:pt x="233564" y="359550"/>
                  </a:cubicBezTo>
                  <a:cubicBezTo>
                    <a:pt x="233583" y="359579"/>
                    <a:pt x="233593" y="359607"/>
                    <a:pt x="233611" y="359636"/>
                  </a:cubicBezTo>
                  <a:cubicBezTo>
                    <a:pt x="236117" y="364503"/>
                    <a:pt x="239584" y="368809"/>
                    <a:pt x="243803" y="372304"/>
                  </a:cubicBezTo>
                  <a:cubicBezTo>
                    <a:pt x="247756" y="375590"/>
                    <a:pt x="252366" y="377991"/>
                    <a:pt x="257329" y="379353"/>
                  </a:cubicBezTo>
                  <a:cubicBezTo>
                    <a:pt x="263587" y="380905"/>
                    <a:pt x="270121" y="380905"/>
                    <a:pt x="276379" y="379353"/>
                  </a:cubicBezTo>
                  <a:cubicBezTo>
                    <a:pt x="288304" y="376790"/>
                    <a:pt x="298924" y="370028"/>
                    <a:pt x="306287" y="360303"/>
                  </a:cubicBezTo>
                  <a:cubicBezTo>
                    <a:pt x="309154" y="356264"/>
                    <a:pt x="311288" y="351749"/>
                    <a:pt x="312574" y="346967"/>
                  </a:cubicBezTo>
                  <a:cubicBezTo>
                    <a:pt x="312698" y="346024"/>
                    <a:pt x="313441" y="345282"/>
                    <a:pt x="314384" y="345158"/>
                  </a:cubicBezTo>
                  <a:cubicBezTo>
                    <a:pt x="320384" y="344034"/>
                    <a:pt x="326061" y="341624"/>
                    <a:pt x="331052" y="338109"/>
                  </a:cubicBezTo>
                  <a:cubicBezTo>
                    <a:pt x="336501" y="334404"/>
                    <a:pt x="341215" y="329718"/>
                    <a:pt x="344959" y="324298"/>
                  </a:cubicBezTo>
                  <a:cubicBezTo>
                    <a:pt x="348635" y="318878"/>
                    <a:pt x="351398" y="312897"/>
                    <a:pt x="353150" y="306581"/>
                  </a:cubicBezTo>
                  <a:cubicBezTo>
                    <a:pt x="354989" y="300247"/>
                    <a:pt x="355760" y="293647"/>
                    <a:pt x="355436" y="287055"/>
                  </a:cubicBezTo>
                  <a:cubicBezTo>
                    <a:pt x="355322" y="286207"/>
                    <a:pt x="355741" y="285379"/>
                    <a:pt x="356484" y="284960"/>
                  </a:cubicBezTo>
                  <a:cubicBezTo>
                    <a:pt x="359646" y="282769"/>
                    <a:pt x="362637" y="280350"/>
                    <a:pt x="365437" y="277721"/>
                  </a:cubicBezTo>
                  <a:cubicBezTo>
                    <a:pt x="368076" y="275292"/>
                    <a:pt x="370467" y="272615"/>
                    <a:pt x="372581" y="269720"/>
                  </a:cubicBezTo>
                  <a:lnTo>
                    <a:pt x="372581" y="269720"/>
                  </a:lnTo>
                  <a:cubicBezTo>
                    <a:pt x="375553" y="265700"/>
                    <a:pt x="377925" y="261271"/>
                    <a:pt x="379630" y="256575"/>
                  </a:cubicBezTo>
                  <a:cubicBezTo>
                    <a:pt x="382811" y="247660"/>
                    <a:pt x="383173" y="237982"/>
                    <a:pt x="380678" y="228857"/>
                  </a:cubicBezTo>
                  <a:cubicBezTo>
                    <a:pt x="379525" y="224276"/>
                    <a:pt x="377725" y="219885"/>
                    <a:pt x="375344" y="215808"/>
                  </a:cubicBezTo>
                  <a:lnTo>
                    <a:pt x="375344" y="215808"/>
                  </a:lnTo>
                  <a:cubicBezTo>
                    <a:pt x="373686" y="213103"/>
                    <a:pt x="371876" y="210493"/>
                    <a:pt x="369914" y="207998"/>
                  </a:cubicBezTo>
                  <a:cubicBezTo>
                    <a:pt x="367800" y="205483"/>
                    <a:pt x="365504" y="203131"/>
                    <a:pt x="363056" y="200949"/>
                  </a:cubicBezTo>
                  <a:cubicBezTo>
                    <a:pt x="362427" y="200416"/>
                    <a:pt x="362132" y="199568"/>
                    <a:pt x="362294" y="198759"/>
                  </a:cubicBezTo>
                  <a:cubicBezTo>
                    <a:pt x="362875" y="196092"/>
                    <a:pt x="363228" y="193386"/>
                    <a:pt x="363342" y="190662"/>
                  </a:cubicBezTo>
                  <a:cubicBezTo>
                    <a:pt x="363533" y="187995"/>
                    <a:pt x="363533" y="185328"/>
                    <a:pt x="363342" y="182661"/>
                  </a:cubicBezTo>
                  <a:cubicBezTo>
                    <a:pt x="362770" y="177337"/>
                    <a:pt x="361389" y="172136"/>
                    <a:pt x="359246" y="167231"/>
                  </a:cubicBezTo>
                  <a:cubicBezTo>
                    <a:pt x="356998" y="162202"/>
                    <a:pt x="354046" y="157525"/>
                    <a:pt x="350483" y="153324"/>
                  </a:cubicBezTo>
                  <a:cubicBezTo>
                    <a:pt x="347169" y="149352"/>
                    <a:pt x="343321" y="145857"/>
                    <a:pt x="339053" y="142942"/>
                  </a:cubicBezTo>
                  <a:cubicBezTo>
                    <a:pt x="335053" y="140085"/>
                    <a:pt x="330662" y="137846"/>
                    <a:pt x="326004" y="136275"/>
                  </a:cubicBezTo>
                  <a:lnTo>
                    <a:pt x="326004" y="136275"/>
                  </a:lnTo>
                  <a:cubicBezTo>
                    <a:pt x="323651" y="135446"/>
                    <a:pt x="321232" y="134846"/>
                    <a:pt x="318765" y="134465"/>
                  </a:cubicBezTo>
                  <a:lnTo>
                    <a:pt x="318765" y="134465"/>
                  </a:lnTo>
                  <a:cubicBezTo>
                    <a:pt x="316422" y="134227"/>
                    <a:pt x="314060" y="134227"/>
                    <a:pt x="311717" y="134465"/>
                  </a:cubicBezTo>
                  <a:cubicBezTo>
                    <a:pt x="310650" y="134503"/>
                    <a:pt x="309697" y="133789"/>
                    <a:pt x="309430" y="132750"/>
                  </a:cubicBezTo>
                  <a:cubicBezTo>
                    <a:pt x="309021" y="131131"/>
                    <a:pt x="308516" y="129540"/>
                    <a:pt x="307906" y="127988"/>
                  </a:cubicBezTo>
                  <a:cubicBezTo>
                    <a:pt x="307259" y="126426"/>
                    <a:pt x="306525" y="124902"/>
                    <a:pt x="305716" y="123416"/>
                  </a:cubicBezTo>
                  <a:cubicBezTo>
                    <a:pt x="303582" y="119463"/>
                    <a:pt x="300848" y="115872"/>
                    <a:pt x="297620" y="112748"/>
                  </a:cubicBezTo>
                  <a:cubicBezTo>
                    <a:pt x="294286" y="109566"/>
                    <a:pt x="290504" y="106899"/>
                    <a:pt x="286380" y="104842"/>
                  </a:cubicBezTo>
                  <a:cubicBezTo>
                    <a:pt x="282151" y="102651"/>
                    <a:pt x="277579" y="101203"/>
                    <a:pt x="272854" y="100556"/>
                  </a:cubicBezTo>
                  <a:cubicBezTo>
                    <a:pt x="268378" y="99746"/>
                    <a:pt x="263806" y="99746"/>
                    <a:pt x="259329" y="100556"/>
                  </a:cubicBezTo>
                  <a:cubicBezTo>
                    <a:pt x="254090" y="101765"/>
                    <a:pt x="249137" y="104004"/>
                    <a:pt x="244756" y="107128"/>
                  </a:cubicBezTo>
                  <a:close/>
                  <a:moveTo>
                    <a:pt x="308383" y="151134"/>
                  </a:moveTo>
                  <a:cubicBezTo>
                    <a:pt x="308678" y="150248"/>
                    <a:pt x="309459" y="149619"/>
                    <a:pt x="310383" y="149514"/>
                  </a:cubicBezTo>
                  <a:cubicBezTo>
                    <a:pt x="312059" y="149276"/>
                    <a:pt x="313755" y="149276"/>
                    <a:pt x="315431" y="149514"/>
                  </a:cubicBezTo>
                  <a:cubicBezTo>
                    <a:pt x="317174" y="149829"/>
                    <a:pt x="318898" y="150267"/>
                    <a:pt x="320575" y="150848"/>
                  </a:cubicBezTo>
                  <a:cubicBezTo>
                    <a:pt x="323985" y="151962"/>
                    <a:pt x="327195" y="153601"/>
                    <a:pt x="330100" y="155706"/>
                  </a:cubicBezTo>
                  <a:cubicBezTo>
                    <a:pt x="333167" y="157849"/>
                    <a:pt x="335958" y="160382"/>
                    <a:pt x="338387" y="163230"/>
                  </a:cubicBezTo>
                  <a:lnTo>
                    <a:pt x="338387" y="163230"/>
                  </a:lnTo>
                  <a:cubicBezTo>
                    <a:pt x="340996" y="166269"/>
                    <a:pt x="343139" y="169669"/>
                    <a:pt x="344768" y="173327"/>
                  </a:cubicBezTo>
                  <a:cubicBezTo>
                    <a:pt x="346292" y="176841"/>
                    <a:pt x="347292" y="180566"/>
                    <a:pt x="347721" y="184376"/>
                  </a:cubicBezTo>
                  <a:cubicBezTo>
                    <a:pt x="348007" y="187033"/>
                    <a:pt x="348007" y="189719"/>
                    <a:pt x="347721" y="192377"/>
                  </a:cubicBezTo>
                  <a:cubicBezTo>
                    <a:pt x="347378" y="195034"/>
                    <a:pt x="346778" y="197654"/>
                    <a:pt x="345911" y="200187"/>
                  </a:cubicBezTo>
                  <a:lnTo>
                    <a:pt x="345911" y="200187"/>
                  </a:lnTo>
                  <a:cubicBezTo>
                    <a:pt x="344806" y="203435"/>
                    <a:pt x="346016" y="207026"/>
                    <a:pt x="348864" y="208950"/>
                  </a:cubicBezTo>
                  <a:lnTo>
                    <a:pt x="348864" y="208950"/>
                  </a:lnTo>
                  <a:cubicBezTo>
                    <a:pt x="351474" y="210950"/>
                    <a:pt x="353893" y="213179"/>
                    <a:pt x="356103" y="215618"/>
                  </a:cubicBezTo>
                  <a:cubicBezTo>
                    <a:pt x="358256" y="217942"/>
                    <a:pt x="360142" y="220495"/>
                    <a:pt x="361723" y="223238"/>
                  </a:cubicBezTo>
                  <a:cubicBezTo>
                    <a:pt x="363533" y="226181"/>
                    <a:pt x="364847" y="229400"/>
                    <a:pt x="365628" y="232763"/>
                  </a:cubicBezTo>
                  <a:cubicBezTo>
                    <a:pt x="367390" y="239030"/>
                    <a:pt x="367152" y="245688"/>
                    <a:pt x="364961" y="251813"/>
                  </a:cubicBezTo>
                  <a:cubicBezTo>
                    <a:pt x="363733" y="254965"/>
                    <a:pt x="362104" y="257947"/>
                    <a:pt x="360103" y="260671"/>
                  </a:cubicBezTo>
                  <a:lnTo>
                    <a:pt x="360103" y="260671"/>
                  </a:lnTo>
                  <a:cubicBezTo>
                    <a:pt x="357970" y="263462"/>
                    <a:pt x="355541" y="266014"/>
                    <a:pt x="352864" y="268291"/>
                  </a:cubicBezTo>
                  <a:cubicBezTo>
                    <a:pt x="349921" y="270853"/>
                    <a:pt x="346730" y="273120"/>
                    <a:pt x="343339" y="275054"/>
                  </a:cubicBezTo>
                  <a:lnTo>
                    <a:pt x="343339" y="275054"/>
                  </a:lnTo>
                  <a:cubicBezTo>
                    <a:pt x="341958" y="275882"/>
                    <a:pt x="340863" y="277111"/>
                    <a:pt x="340196" y="278578"/>
                  </a:cubicBezTo>
                  <a:cubicBezTo>
                    <a:pt x="339606" y="280064"/>
                    <a:pt x="339444" y="281674"/>
                    <a:pt x="339720" y="283245"/>
                  </a:cubicBezTo>
                  <a:lnTo>
                    <a:pt x="339720" y="283245"/>
                  </a:lnTo>
                  <a:cubicBezTo>
                    <a:pt x="340434" y="288903"/>
                    <a:pt x="340177" y="294637"/>
                    <a:pt x="338958" y="300200"/>
                  </a:cubicBezTo>
                  <a:cubicBezTo>
                    <a:pt x="337682" y="305610"/>
                    <a:pt x="335424" y="310744"/>
                    <a:pt x="332291" y="315345"/>
                  </a:cubicBezTo>
                  <a:cubicBezTo>
                    <a:pt x="330062" y="318516"/>
                    <a:pt x="327395" y="321374"/>
                    <a:pt x="324385" y="323822"/>
                  </a:cubicBezTo>
                  <a:cubicBezTo>
                    <a:pt x="321537" y="326079"/>
                    <a:pt x="318308" y="327822"/>
                    <a:pt x="314860" y="328965"/>
                  </a:cubicBezTo>
                  <a:lnTo>
                    <a:pt x="314860" y="328965"/>
                  </a:lnTo>
                  <a:cubicBezTo>
                    <a:pt x="313660" y="329280"/>
                    <a:pt x="312412" y="328622"/>
                    <a:pt x="312002" y="327441"/>
                  </a:cubicBezTo>
                  <a:cubicBezTo>
                    <a:pt x="307526" y="312963"/>
                    <a:pt x="299905" y="308391"/>
                    <a:pt x="286952" y="301629"/>
                  </a:cubicBezTo>
                  <a:lnTo>
                    <a:pt x="286952" y="301629"/>
                  </a:lnTo>
                  <a:cubicBezTo>
                    <a:pt x="285170" y="300962"/>
                    <a:pt x="283208" y="300962"/>
                    <a:pt x="281427" y="301629"/>
                  </a:cubicBezTo>
                  <a:cubicBezTo>
                    <a:pt x="279646" y="302248"/>
                    <a:pt x="278150" y="303495"/>
                    <a:pt x="277236" y="305153"/>
                  </a:cubicBezTo>
                  <a:lnTo>
                    <a:pt x="277236" y="305153"/>
                  </a:lnTo>
                  <a:cubicBezTo>
                    <a:pt x="276522" y="306924"/>
                    <a:pt x="276522" y="308906"/>
                    <a:pt x="277236" y="310677"/>
                  </a:cubicBezTo>
                  <a:cubicBezTo>
                    <a:pt x="277846" y="312516"/>
                    <a:pt x="279141" y="314059"/>
                    <a:pt x="280855" y="314964"/>
                  </a:cubicBezTo>
                  <a:cubicBezTo>
                    <a:pt x="291714" y="320488"/>
                    <a:pt x="299905" y="324489"/>
                    <a:pt x="299905" y="338205"/>
                  </a:cubicBezTo>
                  <a:cubicBezTo>
                    <a:pt x="299782" y="342281"/>
                    <a:pt x="298601" y="346253"/>
                    <a:pt x="296477" y="349730"/>
                  </a:cubicBezTo>
                  <a:cubicBezTo>
                    <a:pt x="291457" y="357464"/>
                    <a:pt x="283704" y="363008"/>
                    <a:pt x="274760" y="365256"/>
                  </a:cubicBezTo>
                  <a:cubicBezTo>
                    <a:pt x="270664" y="366256"/>
                    <a:pt x="266378" y="366256"/>
                    <a:pt x="262282" y="365256"/>
                  </a:cubicBezTo>
                  <a:cubicBezTo>
                    <a:pt x="256043" y="363436"/>
                    <a:pt x="250861" y="359083"/>
                    <a:pt x="247994" y="353254"/>
                  </a:cubicBezTo>
                  <a:cubicBezTo>
                    <a:pt x="245375" y="347882"/>
                    <a:pt x="243518" y="342176"/>
                    <a:pt x="242470" y="336299"/>
                  </a:cubicBezTo>
                  <a:cubicBezTo>
                    <a:pt x="242422" y="336109"/>
                    <a:pt x="242422" y="335919"/>
                    <a:pt x="242470" y="335728"/>
                  </a:cubicBezTo>
                  <a:cubicBezTo>
                    <a:pt x="242279" y="332937"/>
                    <a:pt x="240184" y="330642"/>
                    <a:pt x="237421" y="330204"/>
                  </a:cubicBezTo>
                  <a:cubicBezTo>
                    <a:pt x="236155" y="329823"/>
                    <a:pt x="234840" y="329632"/>
                    <a:pt x="233516" y="329632"/>
                  </a:cubicBezTo>
                  <a:cubicBezTo>
                    <a:pt x="232164" y="329623"/>
                    <a:pt x="230811" y="329813"/>
                    <a:pt x="229516" y="330204"/>
                  </a:cubicBezTo>
                  <a:cubicBezTo>
                    <a:pt x="226763" y="330670"/>
                    <a:pt x="224686" y="332947"/>
                    <a:pt x="224468" y="335728"/>
                  </a:cubicBezTo>
                  <a:lnTo>
                    <a:pt x="224468" y="336395"/>
                  </a:lnTo>
                  <a:cubicBezTo>
                    <a:pt x="222715" y="343653"/>
                    <a:pt x="219476" y="350463"/>
                    <a:pt x="214943" y="356397"/>
                  </a:cubicBezTo>
                  <a:cubicBezTo>
                    <a:pt x="211352" y="361236"/>
                    <a:pt x="206151" y="364617"/>
                    <a:pt x="200274" y="365922"/>
                  </a:cubicBezTo>
                  <a:cubicBezTo>
                    <a:pt x="196454" y="366875"/>
                    <a:pt x="192473" y="366875"/>
                    <a:pt x="188653" y="365922"/>
                  </a:cubicBezTo>
                  <a:cubicBezTo>
                    <a:pt x="184662" y="364817"/>
                    <a:pt x="180919" y="362979"/>
                    <a:pt x="177604" y="360493"/>
                  </a:cubicBezTo>
                  <a:cubicBezTo>
                    <a:pt x="174385" y="357874"/>
                    <a:pt x="171737" y="354635"/>
                    <a:pt x="169794" y="350968"/>
                  </a:cubicBezTo>
                  <a:cubicBezTo>
                    <a:pt x="167946" y="347644"/>
                    <a:pt x="166965" y="343910"/>
                    <a:pt x="166936" y="340110"/>
                  </a:cubicBezTo>
                  <a:cubicBezTo>
                    <a:pt x="166936" y="325917"/>
                    <a:pt x="175604" y="321060"/>
                    <a:pt x="186939" y="315249"/>
                  </a:cubicBezTo>
                  <a:cubicBezTo>
                    <a:pt x="188692" y="314364"/>
                    <a:pt x="190035" y="312830"/>
                    <a:pt x="190654" y="310963"/>
                  </a:cubicBezTo>
                  <a:cubicBezTo>
                    <a:pt x="192035" y="307153"/>
                    <a:pt x="190073" y="302953"/>
                    <a:pt x="186272" y="301562"/>
                  </a:cubicBezTo>
                  <a:cubicBezTo>
                    <a:pt x="186148" y="301514"/>
                    <a:pt x="186015" y="301476"/>
                    <a:pt x="185891" y="301438"/>
                  </a:cubicBezTo>
                  <a:cubicBezTo>
                    <a:pt x="184120" y="300724"/>
                    <a:pt x="182138" y="300724"/>
                    <a:pt x="180367" y="301438"/>
                  </a:cubicBezTo>
                  <a:lnTo>
                    <a:pt x="180367" y="301438"/>
                  </a:lnTo>
                  <a:cubicBezTo>
                    <a:pt x="166936" y="308296"/>
                    <a:pt x="158840" y="313344"/>
                    <a:pt x="154078" y="328298"/>
                  </a:cubicBezTo>
                  <a:cubicBezTo>
                    <a:pt x="153773" y="329299"/>
                    <a:pt x="152830" y="329966"/>
                    <a:pt x="151792" y="329918"/>
                  </a:cubicBezTo>
                  <a:cubicBezTo>
                    <a:pt x="150430" y="330051"/>
                    <a:pt x="149058" y="330051"/>
                    <a:pt x="147696" y="329918"/>
                  </a:cubicBezTo>
                  <a:cubicBezTo>
                    <a:pt x="146362" y="329718"/>
                    <a:pt x="145048" y="329365"/>
                    <a:pt x="143791" y="328870"/>
                  </a:cubicBezTo>
                  <a:cubicBezTo>
                    <a:pt x="140419" y="327699"/>
                    <a:pt x="137219" y="326098"/>
                    <a:pt x="134266" y="324107"/>
                  </a:cubicBezTo>
                  <a:cubicBezTo>
                    <a:pt x="131284" y="322031"/>
                    <a:pt x="128560" y="319602"/>
                    <a:pt x="126170" y="316869"/>
                  </a:cubicBezTo>
                  <a:cubicBezTo>
                    <a:pt x="123655" y="313992"/>
                    <a:pt x="121531" y="310792"/>
                    <a:pt x="119883" y="307344"/>
                  </a:cubicBezTo>
                  <a:cubicBezTo>
                    <a:pt x="118283" y="304000"/>
                    <a:pt x="117187" y="300438"/>
                    <a:pt x="116645" y="296771"/>
                  </a:cubicBezTo>
                  <a:lnTo>
                    <a:pt x="116645" y="296771"/>
                  </a:lnTo>
                  <a:cubicBezTo>
                    <a:pt x="116311" y="293923"/>
                    <a:pt x="116311" y="291046"/>
                    <a:pt x="116645" y="288198"/>
                  </a:cubicBezTo>
                  <a:cubicBezTo>
                    <a:pt x="116911" y="285331"/>
                    <a:pt x="117559" y="282512"/>
                    <a:pt x="118550" y="279816"/>
                  </a:cubicBezTo>
                  <a:lnTo>
                    <a:pt x="118550" y="279816"/>
                  </a:lnTo>
                  <a:cubicBezTo>
                    <a:pt x="119026" y="278264"/>
                    <a:pt x="119026" y="276606"/>
                    <a:pt x="118550" y="275054"/>
                  </a:cubicBezTo>
                  <a:lnTo>
                    <a:pt x="118550" y="275054"/>
                  </a:lnTo>
                  <a:cubicBezTo>
                    <a:pt x="118007" y="273473"/>
                    <a:pt x="116978" y="272101"/>
                    <a:pt x="115597" y="271148"/>
                  </a:cubicBezTo>
                  <a:lnTo>
                    <a:pt x="115597" y="271148"/>
                  </a:lnTo>
                  <a:cubicBezTo>
                    <a:pt x="113149" y="269377"/>
                    <a:pt x="110882" y="267367"/>
                    <a:pt x="108834" y="265148"/>
                  </a:cubicBezTo>
                  <a:cubicBezTo>
                    <a:pt x="106843" y="262966"/>
                    <a:pt x="105052" y="260604"/>
                    <a:pt x="103500" y="258099"/>
                  </a:cubicBezTo>
                  <a:cubicBezTo>
                    <a:pt x="101681" y="255137"/>
                    <a:pt x="100300" y="251927"/>
                    <a:pt x="99404" y="248574"/>
                  </a:cubicBezTo>
                  <a:cubicBezTo>
                    <a:pt x="98452" y="245488"/>
                    <a:pt x="98004" y="242278"/>
                    <a:pt x="98071" y="239049"/>
                  </a:cubicBezTo>
                  <a:cubicBezTo>
                    <a:pt x="98080" y="235639"/>
                    <a:pt x="98661" y="232267"/>
                    <a:pt x="99785" y="229048"/>
                  </a:cubicBezTo>
                  <a:cubicBezTo>
                    <a:pt x="101023" y="225638"/>
                    <a:pt x="102757" y="222428"/>
                    <a:pt x="104929" y="219523"/>
                  </a:cubicBezTo>
                  <a:cubicBezTo>
                    <a:pt x="106986" y="216732"/>
                    <a:pt x="109358" y="214180"/>
                    <a:pt x="111977" y="211903"/>
                  </a:cubicBezTo>
                  <a:cubicBezTo>
                    <a:pt x="114968" y="209369"/>
                    <a:pt x="118149" y="207074"/>
                    <a:pt x="121502" y="205045"/>
                  </a:cubicBezTo>
                  <a:cubicBezTo>
                    <a:pt x="122712" y="204264"/>
                    <a:pt x="123703" y="203178"/>
                    <a:pt x="124360" y="201902"/>
                  </a:cubicBezTo>
                  <a:lnTo>
                    <a:pt x="124360" y="201902"/>
                  </a:lnTo>
                  <a:cubicBezTo>
                    <a:pt x="124998" y="200606"/>
                    <a:pt x="125236" y="199140"/>
                    <a:pt x="125027" y="197711"/>
                  </a:cubicBezTo>
                  <a:lnTo>
                    <a:pt x="125027" y="197711"/>
                  </a:lnTo>
                  <a:lnTo>
                    <a:pt x="125027" y="197711"/>
                  </a:lnTo>
                  <a:cubicBezTo>
                    <a:pt x="124931" y="196349"/>
                    <a:pt x="124931" y="194977"/>
                    <a:pt x="125027" y="193615"/>
                  </a:cubicBezTo>
                  <a:cubicBezTo>
                    <a:pt x="125027" y="192186"/>
                    <a:pt x="125027" y="190758"/>
                    <a:pt x="125027" y="189329"/>
                  </a:cubicBezTo>
                  <a:cubicBezTo>
                    <a:pt x="125217" y="184452"/>
                    <a:pt x="126150" y="179632"/>
                    <a:pt x="127789" y="175041"/>
                  </a:cubicBezTo>
                  <a:cubicBezTo>
                    <a:pt x="129503" y="170536"/>
                    <a:pt x="131913" y="166316"/>
                    <a:pt x="134933" y="162564"/>
                  </a:cubicBezTo>
                  <a:cubicBezTo>
                    <a:pt x="137219" y="159725"/>
                    <a:pt x="139914" y="157258"/>
                    <a:pt x="142934" y="155229"/>
                  </a:cubicBezTo>
                  <a:cubicBezTo>
                    <a:pt x="145677" y="153391"/>
                    <a:pt x="148696" y="152000"/>
                    <a:pt x="151887" y="151134"/>
                  </a:cubicBezTo>
                  <a:lnTo>
                    <a:pt x="151887" y="151134"/>
                  </a:lnTo>
                  <a:cubicBezTo>
                    <a:pt x="153087" y="150857"/>
                    <a:pt x="154306" y="151515"/>
                    <a:pt x="154745" y="152658"/>
                  </a:cubicBezTo>
                  <a:cubicBezTo>
                    <a:pt x="156688" y="159639"/>
                    <a:pt x="160631" y="165888"/>
                    <a:pt x="166079" y="170660"/>
                  </a:cubicBezTo>
                  <a:lnTo>
                    <a:pt x="166079" y="170660"/>
                  </a:lnTo>
                  <a:cubicBezTo>
                    <a:pt x="167479" y="171936"/>
                    <a:pt x="169337" y="172593"/>
                    <a:pt x="171223" y="172469"/>
                  </a:cubicBezTo>
                  <a:cubicBezTo>
                    <a:pt x="173156" y="172489"/>
                    <a:pt x="175004" y="171650"/>
                    <a:pt x="176271" y="170184"/>
                  </a:cubicBezTo>
                  <a:lnTo>
                    <a:pt x="176271" y="170184"/>
                  </a:lnTo>
                  <a:cubicBezTo>
                    <a:pt x="177547" y="168745"/>
                    <a:pt x="178224" y="166869"/>
                    <a:pt x="178176" y="164945"/>
                  </a:cubicBezTo>
                  <a:cubicBezTo>
                    <a:pt x="178071" y="163021"/>
                    <a:pt x="177214" y="161201"/>
                    <a:pt x="175795" y="159897"/>
                  </a:cubicBezTo>
                  <a:cubicBezTo>
                    <a:pt x="172261" y="156944"/>
                    <a:pt x="169756" y="152934"/>
                    <a:pt x="168651" y="148467"/>
                  </a:cubicBezTo>
                  <a:cubicBezTo>
                    <a:pt x="166975" y="143818"/>
                    <a:pt x="166975" y="138732"/>
                    <a:pt x="168651" y="134084"/>
                  </a:cubicBezTo>
                  <a:cubicBezTo>
                    <a:pt x="169813" y="131007"/>
                    <a:pt x="171518" y="128169"/>
                    <a:pt x="173699" y="125702"/>
                  </a:cubicBezTo>
                  <a:cubicBezTo>
                    <a:pt x="175852" y="123178"/>
                    <a:pt x="178433" y="121054"/>
                    <a:pt x="181319" y="119415"/>
                  </a:cubicBezTo>
                  <a:lnTo>
                    <a:pt x="181319" y="119415"/>
                  </a:lnTo>
                  <a:cubicBezTo>
                    <a:pt x="184272" y="117691"/>
                    <a:pt x="187491" y="116472"/>
                    <a:pt x="190844" y="115796"/>
                  </a:cubicBezTo>
                  <a:cubicBezTo>
                    <a:pt x="193987" y="115186"/>
                    <a:pt x="197226" y="115186"/>
                    <a:pt x="200369" y="115796"/>
                  </a:cubicBezTo>
                  <a:cubicBezTo>
                    <a:pt x="205265" y="116891"/>
                    <a:pt x="209694" y="119491"/>
                    <a:pt x="213037" y="123225"/>
                  </a:cubicBezTo>
                  <a:cubicBezTo>
                    <a:pt x="217000" y="127540"/>
                    <a:pt x="220019" y="132636"/>
                    <a:pt x="221896" y="138180"/>
                  </a:cubicBezTo>
                  <a:lnTo>
                    <a:pt x="221896" y="138180"/>
                  </a:lnTo>
                  <a:cubicBezTo>
                    <a:pt x="223105" y="140837"/>
                    <a:pt x="225658" y="142618"/>
                    <a:pt x="228563" y="142847"/>
                  </a:cubicBezTo>
                  <a:cubicBezTo>
                    <a:pt x="230021" y="143037"/>
                    <a:pt x="231487" y="143037"/>
                    <a:pt x="232945" y="142847"/>
                  </a:cubicBezTo>
                  <a:lnTo>
                    <a:pt x="232945" y="142847"/>
                  </a:lnTo>
                  <a:cubicBezTo>
                    <a:pt x="234402" y="142761"/>
                    <a:pt x="235850" y="142475"/>
                    <a:pt x="237231" y="141990"/>
                  </a:cubicBezTo>
                  <a:cubicBezTo>
                    <a:pt x="239517" y="141227"/>
                    <a:pt x="241422" y="139989"/>
                    <a:pt x="241803" y="138370"/>
                  </a:cubicBezTo>
                  <a:lnTo>
                    <a:pt x="241803" y="137513"/>
                  </a:lnTo>
                  <a:cubicBezTo>
                    <a:pt x="242251" y="132426"/>
                    <a:pt x="244556" y="127674"/>
                    <a:pt x="248280" y="124178"/>
                  </a:cubicBezTo>
                  <a:cubicBezTo>
                    <a:pt x="252042" y="119987"/>
                    <a:pt x="256938" y="116986"/>
                    <a:pt x="262377" y="115510"/>
                  </a:cubicBezTo>
                  <a:cubicBezTo>
                    <a:pt x="265244" y="114986"/>
                    <a:pt x="268178" y="114986"/>
                    <a:pt x="271045" y="115510"/>
                  </a:cubicBezTo>
                  <a:cubicBezTo>
                    <a:pt x="274055" y="115996"/>
                    <a:pt x="276979" y="116929"/>
                    <a:pt x="279712" y="118272"/>
                  </a:cubicBezTo>
                  <a:lnTo>
                    <a:pt x="279712" y="118272"/>
                  </a:lnTo>
                  <a:cubicBezTo>
                    <a:pt x="282494" y="119682"/>
                    <a:pt x="285056" y="121482"/>
                    <a:pt x="287333" y="123606"/>
                  </a:cubicBezTo>
                  <a:cubicBezTo>
                    <a:pt x="289542" y="125683"/>
                    <a:pt x="291409" y="128093"/>
                    <a:pt x="292857" y="130750"/>
                  </a:cubicBezTo>
                  <a:cubicBezTo>
                    <a:pt x="295172" y="134960"/>
                    <a:pt x="296048" y="139808"/>
                    <a:pt x="295334" y="144561"/>
                  </a:cubicBezTo>
                  <a:cubicBezTo>
                    <a:pt x="295238" y="148762"/>
                    <a:pt x="293686" y="152800"/>
                    <a:pt x="290952" y="155991"/>
                  </a:cubicBezTo>
                  <a:lnTo>
                    <a:pt x="290952" y="155991"/>
                  </a:lnTo>
                  <a:cubicBezTo>
                    <a:pt x="289723" y="157477"/>
                    <a:pt x="289142" y="159401"/>
                    <a:pt x="289333" y="161325"/>
                  </a:cubicBezTo>
                  <a:cubicBezTo>
                    <a:pt x="289447" y="163192"/>
                    <a:pt x="290304" y="164945"/>
                    <a:pt x="291714" y="166183"/>
                  </a:cubicBezTo>
                  <a:lnTo>
                    <a:pt x="291714" y="166183"/>
                  </a:lnTo>
                  <a:cubicBezTo>
                    <a:pt x="293190" y="167364"/>
                    <a:pt x="295067" y="167945"/>
                    <a:pt x="296953" y="167802"/>
                  </a:cubicBezTo>
                  <a:cubicBezTo>
                    <a:pt x="298810" y="167650"/>
                    <a:pt x="300525" y="166755"/>
                    <a:pt x="301715" y="165326"/>
                  </a:cubicBezTo>
                  <a:lnTo>
                    <a:pt x="301715" y="165326"/>
                  </a:lnTo>
                  <a:cubicBezTo>
                    <a:pt x="304935" y="161459"/>
                    <a:pt x="307221" y="156887"/>
                    <a:pt x="308383" y="151991"/>
                  </a:cubicBezTo>
                  <a:close/>
                  <a:moveTo>
                    <a:pt x="394108" y="343062"/>
                  </a:moveTo>
                  <a:cubicBezTo>
                    <a:pt x="393346" y="341157"/>
                    <a:pt x="392955" y="339119"/>
                    <a:pt x="392965" y="337062"/>
                  </a:cubicBezTo>
                  <a:cubicBezTo>
                    <a:pt x="392946" y="335033"/>
                    <a:pt x="393336" y="333032"/>
                    <a:pt x="394108" y="331156"/>
                  </a:cubicBezTo>
                  <a:cubicBezTo>
                    <a:pt x="394841" y="329280"/>
                    <a:pt x="395984" y="327594"/>
                    <a:pt x="397442" y="326203"/>
                  </a:cubicBezTo>
                  <a:lnTo>
                    <a:pt x="397442" y="326203"/>
                  </a:lnTo>
                  <a:cubicBezTo>
                    <a:pt x="398223" y="325384"/>
                    <a:pt x="399128" y="324670"/>
                    <a:pt x="400109" y="324107"/>
                  </a:cubicBezTo>
                  <a:cubicBezTo>
                    <a:pt x="400613" y="323736"/>
                    <a:pt x="401156" y="323422"/>
                    <a:pt x="401728" y="323155"/>
                  </a:cubicBezTo>
                  <a:lnTo>
                    <a:pt x="401728" y="298295"/>
                  </a:lnTo>
                  <a:lnTo>
                    <a:pt x="371248" y="298295"/>
                  </a:lnTo>
                  <a:cubicBezTo>
                    <a:pt x="371343" y="296675"/>
                    <a:pt x="371343" y="295056"/>
                    <a:pt x="371248" y="293437"/>
                  </a:cubicBezTo>
                  <a:cubicBezTo>
                    <a:pt x="371133" y="292542"/>
                    <a:pt x="371543" y="291656"/>
                    <a:pt x="372295" y="291151"/>
                  </a:cubicBezTo>
                  <a:cubicBezTo>
                    <a:pt x="375296" y="289075"/>
                    <a:pt x="378192" y="286846"/>
                    <a:pt x="380963" y="284483"/>
                  </a:cubicBezTo>
                  <a:lnTo>
                    <a:pt x="408586" y="284483"/>
                  </a:lnTo>
                  <a:cubicBezTo>
                    <a:pt x="410434" y="284474"/>
                    <a:pt x="412215" y="285188"/>
                    <a:pt x="413539" y="286484"/>
                  </a:cubicBezTo>
                  <a:cubicBezTo>
                    <a:pt x="414825" y="287770"/>
                    <a:pt x="415539" y="289522"/>
                    <a:pt x="415539" y="291341"/>
                  </a:cubicBezTo>
                  <a:lnTo>
                    <a:pt x="415539" y="323346"/>
                  </a:lnTo>
                  <a:lnTo>
                    <a:pt x="416968" y="324107"/>
                  </a:lnTo>
                  <a:cubicBezTo>
                    <a:pt x="417787" y="324670"/>
                    <a:pt x="418558" y="325308"/>
                    <a:pt x="419254" y="326013"/>
                  </a:cubicBezTo>
                  <a:lnTo>
                    <a:pt x="419254" y="326013"/>
                  </a:lnTo>
                  <a:cubicBezTo>
                    <a:pt x="420663" y="327479"/>
                    <a:pt x="421797" y="329184"/>
                    <a:pt x="422587" y="331061"/>
                  </a:cubicBezTo>
                  <a:cubicBezTo>
                    <a:pt x="423350" y="332966"/>
                    <a:pt x="423740" y="335004"/>
                    <a:pt x="423730" y="337062"/>
                  </a:cubicBezTo>
                  <a:cubicBezTo>
                    <a:pt x="423740" y="339052"/>
                    <a:pt x="423350" y="341033"/>
                    <a:pt x="422587" y="342872"/>
                  </a:cubicBezTo>
                  <a:lnTo>
                    <a:pt x="422587" y="342872"/>
                  </a:lnTo>
                  <a:cubicBezTo>
                    <a:pt x="421797" y="344777"/>
                    <a:pt x="420663" y="346520"/>
                    <a:pt x="419254" y="348015"/>
                  </a:cubicBezTo>
                  <a:cubicBezTo>
                    <a:pt x="417768" y="349444"/>
                    <a:pt x="416025" y="350578"/>
                    <a:pt x="414110" y="351349"/>
                  </a:cubicBezTo>
                  <a:cubicBezTo>
                    <a:pt x="412234" y="352121"/>
                    <a:pt x="410234" y="352511"/>
                    <a:pt x="408205" y="352492"/>
                  </a:cubicBezTo>
                  <a:cubicBezTo>
                    <a:pt x="406147" y="352502"/>
                    <a:pt x="404109" y="352111"/>
                    <a:pt x="402204" y="351349"/>
                  </a:cubicBezTo>
                  <a:cubicBezTo>
                    <a:pt x="400327" y="350558"/>
                    <a:pt x="398623" y="349425"/>
                    <a:pt x="397156" y="348015"/>
                  </a:cubicBezTo>
                  <a:cubicBezTo>
                    <a:pt x="395765" y="346501"/>
                    <a:pt x="394641" y="344758"/>
                    <a:pt x="393822" y="342872"/>
                  </a:cubicBezTo>
                  <a:close/>
                  <a:moveTo>
                    <a:pt x="438209" y="263624"/>
                  </a:moveTo>
                  <a:lnTo>
                    <a:pt x="396870" y="263624"/>
                  </a:lnTo>
                  <a:cubicBezTo>
                    <a:pt x="397575" y="262109"/>
                    <a:pt x="398175" y="260547"/>
                    <a:pt x="398680" y="258956"/>
                  </a:cubicBezTo>
                  <a:cubicBezTo>
                    <a:pt x="399813" y="255880"/>
                    <a:pt x="400613" y="252680"/>
                    <a:pt x="401061" y="249431"/>
                  </a:cubicBezTo>
                  <a:lnTo>
                    <a:pt x="438209" y="249431"/>
                  </a:lnTo>
                  <a:lnTo>
                    <a:pt x="439066" y="247907"/>
                  </a:lnTo>
                  <a:cubicBezTo>
                    <a:pt x="439656" y="246993"/>
                    <a:pt x="440323" y="246136"/>
                    <a:pt x="441066" y="245336"/>
                  </a:cubicBezTo>
                  <a:cubicBezTo>
                    <a:pt x="442542" y="243888"/>
                    <a:pt x="444286" y="242755"/>
                    <a:pt x="446210" y="242002"/>
                  </a:cubicBezTo>
                  <a:cubicBezTo>
                    <a:pt x="448086" y="241231"/>
                    <a:pt x="450086" y="240840"/>
                    <a:pt x="452115" y="240859"/>
                  </a:cubicBezTo>
                  <a:cubicBezTo>
                    <a:pt x="454096" y="240859"/>
                    <a:pt x="456068" y="241211"/>
                    <a:pt x="457925" y="241907"/>
                  </a:cubicBezTo>
                  <a:lnTo>
                    <a:pt x="457925" y="241907"/>
                  </a:lnTo>
                  <a:cubicBezTo>
                    <a:pt x="461745" y="243440"/>
                    <a:pt x="464774" y="246469"/>
                    <a:pt x="466307" y="250289"/>
                  </a:cubicBezTo>
                  <a:cubicBezTo>
                    <a:pt x="467965" y="254118"/>
                    <a:pt x="467965" y="258461"/>
                    <a:pt x="466307" y="262290"/>
                  </a:cubicBezTo>
                  <a:cubicBezTo>
                    <a:pt x="464774" y="266110"/>
                    <a:pt x="461745" y="269139"/>
                    <a:pt x="457925" y="270672"/>
                  </a:cubicBezTo>
                  <a:cubicBezTo>
                    <a:pt x="456020" y="271434"/>
                    <a:pt x="453982" y="271825"/>
                    <a:pt x="451925" y="271815"/>
                  </a:cubicBezTo>
                  <a:cubicBezTo>
                    <a:pt x="449943" y="271806"/>
                    <a:pt x="447972" y="271453"/>
                    <a:pt x="446114" y="270767"/>
                  </a:cubicBezTo>
                  <a:lnTo>
                    <a:pt x="446114" y="270767"/>
                  </a:lnTo>
                  <a:cubicBezTo>
                    <a:pt x="444190" y="270015"/>
                    <a:pt x="442447" y="268881"/>
                    <a:pt x="440971" y="267434"/>
                  </a:cubicBezTo>
                  <a:lnTo>
                    <a:pt x="438970" y="264957"/>
                  </a:lnTo>
                  <a:lnTo>
                    <a:pt x="438970" y="264957"/>
                  </a:lnTo>
                  <a:lnTo>
                    <a:pt x="438113" y="263433"/>
                  </a:lnTo>
                  <a:close/>
                  <a:moveTo>
                    <a:pt x="451353" y="225524"/>
                  </a:moveTo>
                  <a:lnTo>
                    <a:pt x="399346" y="225524"/>
                  </a:lnTo>
                  <a:cubicBezTo>
                    <a:pt x="397984" y="221095"/>
                    <a:pt x="396098" y="216837"/>
                    <a:pt x="393727" y="212856"/>
                  </a:cubicBezTo>
                  <a:lnTo>
                    <a:pt x="393727" y="212856"/>
                  </a:lnTo>
                  <a:lnTo>
                    <a:pt x="393060" y="211903"/>
                  </a:lnTo>
                  <a:lnTo>
                    <a:pt x="444495" y="211903"/>
                  </a:lnTo>
                  <a:lnTo>
                    <a:pt x="444495" y="166564"/>
                  </a:lnTo>
                  <a:lnTo>
                    <a:pt x="443257" y="165802"/>
                  </a:lnTo>
                  <a:lnTo>
                    <a:pt x="441161" y="163992"/>
                  </a:lnTo>
                  <a:cubicBezTo>
                    <a:pt x="439723" y="162535"/>
                    <a:pt x="438561" y="160820"/>
                    <a:pt x="437732" y="158944"/>
                  </a:cubicBezTo>
                  <a:cubicBezTo>
                    <a:pt x="437008" y="157058"/>
                    <a:pt x="436618" y="155058"/>
                    <a:pt x="436589" y="153039"/>
                  </a:cubicBezTo>
                  <a:cubicBezTo>
                    <a:pt x="436618" y="150991"/>
                    <a:pt x="437008" y="148952"/>
                    <a:pt x="437732" y="147038"/>
                  </a:cubicBezTo>
                  <a:cubicBezTo>
                    <a:pt x="439380" y="143237"/>
                    <a:pt x="442409" y="140208"/>
                    <a:pt x="446210" y="138560"/>
                  </a:cubicBezTo>
                  <a:cubicBezTo>
                    <a:pt x="448124" y="137827"/>
                    <a:pt x="450163" y="137437"/>
                    <a:pt x="452210" y="137418"/>
                  </a:cubicBezTo>
                  <a:cubicBezTo>
                    <a:pt x="454229" y="137465"/>
                    <a:pt x="456230" y="137856"/>
                    <a:pt x="458116" y="138560"/>
                  </a:cubicBezTo>
                  <a:cubicBezTo>
                    <a:pt x="461916" y="140208"/>
                    <a:pt x="464945" y="143237"/>
                    <a:pt x="466593" y="147038"/>
                  </a:cubicBezTo>
                  <a:cubicBezTo>
                    <a:pt x="467326" y="148952"/>
                    <a:pt x="467717" y="150991"/>
                    <a:pt x="467736" y="153039"/>
                  </a:cubicBezTo>
                  <a:cubicBezTo>
                    <a:pt x="467745" y="155029"/>
                    <a:pt x="467355" y="157011"/>
                    <a:pt x="466593" y="158849"/>
                  </a:cubicBezTo>
                  <a:lnTo>
                    <a:pt x="466593" y="158849"/>
                  </a:lnTo>
                  <a:cubicBezTo>
                    <a:pt x="465764" y="160725"/>
                    <a:pt x="464602" y="162440"/>
                    <a:pt x="463164" y="163897"/>
                  </a:cubicBezTo>
                  <a:cubicBezTo>
                    <a:pt x="462269" y="164792"/>
                    <a:pt x="461278" y="165592"/>
                    <a:pt x="460211" y="166278"/>
                  </a:cubicBezTo>
                  <a:lnTo>
                    <a:pt x="458402" y="167231"/>
                  </a:lnTo>
                  <a:lnTo>
                    <a:pt x="458402" y="218666"/>
                  </a:lnTo>
                  <a:cubicBezTo>
                    <a:pt x="458354" y="220523"/>
                    <a:pt x="457611" y="222295"/>
                    <a:pt x="456306" y="223619"/>
                  </a:cubicBezTo>
                  <a:cubicBezTo>
                    <a:pt x="454982" y="224914"/>
                    <a:pt x="453201" y="225629"/>
                    <a:pt x="451353" y="225619"/>
                  </a:cubicBezTo>
                  <a:close/>
                  <a:moveTo>
                    <a:pt x="396965" y="192091"/>
                  </a:moveTo>
                  <a:lnTo>
                    <a:pt x="379249" y="192091"/>
                  </a:lnTo>
                  <a:cubicBezTo>
                    <a:pt x="379725" y="189510"/>
                    <a:pt x="380011" y="186900"/>
                    <a:pt x="380106" y="184281"/>
                  </a:cubicBezTo>
                  <a:cubicBezTo>
                    <a:pt x="380106" y="182185"/>
                    <a:pt x="380106" y="180185"/>
                    <a:pt x="380106" y="178185"/>
                  </a:cubicBezTo>
                  <a:lnTo>
                    <a:pt x="389631" y="178185"/>
                  </a:lnTo>
                  <a:lnTo>
                    <a:pt x="389631" y="157706"/>
                  </a:lnTo>
                  <a:lnTo>
                    <a:pt x="388107" y="156848"/>
                  </a:lnTo>
                  <a:cubicBezTo>
                    <a:pt x="387154" y="156201"/>
                    <a:pt x="386259" y="155467"/>
                    <a:pt x="385440" y="154658"/>
                  </a:cubicBezTo>
                  <a:lnTo>
                    <a:pt x="385440" y="154658"/>
                  </a:lnTo>
                  <a:cubicBezTo>
                    <a:pt x="382554" y="151743"/>
                    <a:pt x="380944" y="147809"/>
                    <a:pt x="380963" y="143704"/>
                  </a:cubicBezTo>
                  <a:cubicBezTo>
                    <a:pt x="380954" y="141647"/>
                    <a:pt x="381344" y="139608"/>
                    <a:pt x="382106" y="137703"/>
                  </a:cubicBezTo>
                  <a:cubicBezTo>
                    <a:pt x="382868" y="135894"/>
                    <a:pt x="383964" y="134246"/>
                    <a:pt x="385345" y="132846"/>
                  </a:cubicBezTo>
                  <a:lnTo>
                    <a:pt x="385345" y="132846"/>
                  </a:lnTo>
                  <a:cubicBezTo>
                    <a:pt x="386783" y="131407"/>
                    <a:pt x="388497" y="130274"/>
                    <a:pt x="390393" y="129512"/>
                  </a:cubicBezTo>
                  <a:cubicBezTo>
                    <a:pt x="394251" y="127988"/>
                    <a:pt x="398537" y="127988"/>
                    <a:pt x="402395" y="129512"/>
                  </a:cubicBezTo>
                  <a:cubicBezTo>
                    <a:pt x="404204" y="130274"/>
                    <a:pt x="405852" y="131369"/>
                    <a:pt x="407252" y="132750"/>
                  </a:cubicBezTo>
                  <a:lnTo>
                    <a:pt x="407252" y="132750"/>
                  </a:lnTo>
                  <a:cubicBezTo>
                    <a:pt x="408633" y="134208"/>
                    <a:pt x="409757" y="135874"/>
                    <a:pt x="410586" y="137703"/>
                  </a:cubicBezTo>
                  <a:lnTo>
                    <a:pt x="410586" y="137703"/>
                  </a:lnTo>
                  <a:cubicBezTo>
                    <a:pt x="412110" y="141561"/>
                    <a:pt x="412110" y="145847"/>
                    <a:pt x="410586" y="149705"/>
                  </a:cubicBezTo>
                  <a:cubicBezTo>
                    <a:pt x="409824" y="151515"/>
                    <a:pt x="408729" y="153162"/>
                    <a:pt x="407347" y="154563"/>
                  </a:cubicBezTo>
                  <a:lnTo>
                    <a:pt x="407347" y="154563"/>
                  </a:lnTo>
                  <a:cubicBezTo>
                    <a:pt x="406576" y="155334"/>
                    <a:pt x="405709" y="156001"/>
                    <a:pt x="404776" y="156563"/>
                  </a:cubicBezTo>
                  <a:lnTo>
                    <a:pt x="403347" y="157420"/>
                  </a:lnTo>
                  <a:lnTo>
                    <a:pt x="403347" y="184947"/>
                  </a:lnTo>
                  <a:cubicBezTo>
                    <a:pt x="403347" y="186767"/>
                    <a:pt x="402633" y="188519"/>
                    <a:pt x="401347" y="189805"/>
                  </a:cubicBezTo>
                  <a:cubicBezTo>
                    <a:pt x="400023" y="191110"/>
                    <a:pt x="398251" y="191853"/>
                    <a:pt x="396394" y="191901"/>
                  </a:cubicBezTo>
                  <a:close/>
                  <a:moveTo>
                    <a:pt x="122169" y="73314"/>
                  </a:moveTo>
                  <a:cubicBezTo>
                    <a:pt x="125970" y="74962"/>
                    <a:pt x="130275" y="74962"/>
                    <a:pt x="134075" y="73314"/>
                  </a:cubicBezTo>
                  <a:cubicBezTo>
                    <a:pt x="135904" y="72590"/>
                    <a:pt x="137562" y="71486"/>
                    <a:pt x="138933" y="70076"/>
                  </a:cubicBezTo>
                  <a:lnTo>
                    <a:pt x="138933" y="70076"/>
                  </a:lnTo>
                  <a:cubicBezTo>
                    <a:pt x="139733" y="69276"/>
                    <a:pt x="140438" y="68380"/>
                    <a:pt x="141028" y="67409"/>
                  </a:cubicBezTo>
                  <a:lnTo>
                    <a:pt x="141886" y="65789"/>
                  </a:lnTo>
                  <a:lnTo>
                    <a:pt x="166651" y="65789"/>
                  </a:lnTo>
                  <a:lnTo>
                    <a:pt x="166651" y="87126"/>
                  </a:lnTo>
                  <a:cubicBezTo>
                    <a:pt x="171023" y="84811"/>
                    <a:pt x="175709" y="83144"/>
                    <a:pt x="180557" y="82173"/>
                  </a:cubicBezTo>
                  <a:lnTo>
                    <a:pt x="180557" y="58836"/>
                  </a:lnTo>
                  <a:cubicBezTo>
                    <a:pt x="180576" y="56969"/>
                    <a:pt x="179814" y="55169"/>
                    <a:pt x="178462" y="53883"/>
                  </a:cubicBezTo>
                  <a:cubicBezTo>
                    <a:pt x="177176" y="52597"/>
                    <a:pt x="175423" y="51883"/>
                    <a:pt x="173604" y="51883"/>
                  </a:cubicBezTo>
                  <a:lnTo>
                    <a:pt x="141695" y="51883"/>
                  </a:lnTo>
                  <a:lnTo>
                    <a:pt x="140838" y="50454"/>
                  </a:lnTo>
                  <a:cubicBezTo>
                    <a:pt x="140305" y="49607"/>
                    <a:pt x="139666" y="48845"/>
                    <a:pt x="138933" y="48168"/>
                  </a:cubicBezTo>
                  <a:lnTo>
                    <a:pt x="138933" y="48168"/>
                  </a:lnTo>
                  <a:cubicBezTo>
                    <a:pt x="136038" y="45187"/>
                    <a:pt x="132037" y="43530"/>
                    <a:pt x="127884" y="43596"/>
                  </a:cubicBezTo>
                  <a:cubicBezTo>
                    <a:pt x="125893" y="43587"/>
                    <a:pt x="123912" y="43977"/>
                    <a:pt x="122074" y="44739"/>
                  </a:cubicBezTo>
                  <a:lnTo>
                    <a:pt x="122074" y="44739"/>
                  </a:lnTo>
                  <a:cubicBezTo>
                    <a:pt x="120178" y="45530"/>
                    <a:pt x="118464" y="46701"/>
                    <a:pt x="117026" y="48168"/>
                  </a:cubicBezTo>
                  <a:cubicBezTo>
                    <a:pt x="115540" y="49597"/>
                    <a:pt x="114377" y="51312"/>
                    <a:pt x="113596" y="53217"/>
                  </a:cubicBezTo>
                  <a:cubicBezTo>
                    <a:pt x="112873" y="55103"/>
                    <a:pt x="112482" y="57103"/>
                    <a:pt x="112453" y="59122"/>
                  </a:cubicBezTo>
                  <a:cubicBezTo>
                    <a:pt x="112492" y="61170"/>
                    <a:pt x="112882" y="63199"/>
                    <a:pt x="113596" y="65123"/>
                  </a:cubicBezTo>
                  <a:cubicBezTo>
                    <a:pt x="114425" y="66999"/>
                    <a:pt x="115587" y="68714"/>
                    <a:pt x="117026" y="70171"/>
                  </a:cubicBezTo>
                  <a:cubicBezTo>
                    <a:pt x="118521" y="71590"/>
                    <a:pt x="120264" y="72724"/>
                    <a:pt x="122169" y="73505"/>
                  </a:cubicBezTo>
                  <a:close/>
                  <a:moveTo>
                    <a:pt x="201608" y="29309"/>
                  </a:moveTo>
                  <a:lnTo>
                    <a:pt x="201608" y="82839"/>
                  </a:lnTo>
                  <a:cubicBezTo>
                    <a:pt x="206389" y="84211"/>
                    <a:pt x="210904" y="86402"/>
                    <a:pt x="214943" y="89316"/>
                  </a:cubicBezTo>
                  <a:lnTo>
                    <a:pt x="215419" y="89316"/>
                  </a:lnTo>
                  <a:cubicBezTo>
                    <a:pt x="215419" y="89316"/>
                    <a:pt x="215419" y="89316"/>
                    <a:pt x="215419" y="89316"/>
                  </a:cubicBezTo>
                  <a:lnTo>
                    <a:pt x="215419" y="29309"/>
                  </a:lnTo>
                  <a:lnTo>
                    <a:pt x="216943" y="28452"/>
                  </a:lnTo>
                  <a:cubicBezTo>
                    <a:pt x="217848" y="27851"/>
                    <a:pt x="218676" y="27147"/>
                    <a:pt x="219419" y="26356"/>
                  </a:cubicBezTo>
                  <a:cubicBezTo>
                    <a:pt x="222401" y="23460"/>
                    <a:pt x="224058" y="19460"/>
                    <a:pt x="223991" y="15307"/>
                  </a:cubicBezTo>
                  <a:cubicBezTo>
                    <a:pt x="224001" y="13316"/>
                    <a:pt x="223610" y="11335"/>
                    <a:pt x="222848" y="9497"/>
                  </a:cubicBezTo>
                  <a:lnTo>
                    <a:pt x="222848" y="9497"/>
                  </a:lnTo>
                  <a:cubicBezTo>
                    <a:pt x="222058" y="7601"/>
                    <a:pt x="220886" y="5887"/>
                    <a:pt x="219419" y="4448"/>
                  </a:cubicBezTo>
                  <a:cubicBezTo>
                    <a:pt x="217991" y="2963"/>
                    <a:pt x="216276" y="1801"/>
                    <a:pt x="214371" y="1019"/>
                  </a:cubicBezTo>
                  <a:cubicBezTo>
                    <a:pt x="212494" y="248"/>
                    <a:pt x="210494" y="-143"/>
                    <a:pt x="208466" y="-123"/>
                  </a:cubicBezTo>
                  <a:cubicBezTo>
                    <a:pt x="206408" y="-133"/>
                    <a:pt x="204370" y="258"/>
                    <a:pt x="202465" y="1019"/>
                  </a:cubicBezTo>
                  <a:cubicBezTo>
                    <a:pt x="200588" y="1848"/>
                    <a:pt x="198874" y="3010"/>
                    <a:pt x="197417" y="4448"/>
                  </a:cubicBezTo>
                  <a:cubicBezTo>
                    <a:pt x="195978" y="5887"/>
                    <a:pt x="194845" y="7601"/>
                    <a:pt x="194083" y="9497"/>
                  </a:cubicBezTo>
                  <a:cubicBezTo>
                    <a:pt x="193283" y="11364"/>
                    <a:pt x="192864" y="13374"/>
                    <a:pt x="192845" y="15402"/>
                  </a:cubicBezTo>
                  <a:cubicBezTo>
                    <a:pt x="192835" y="17422"/>
                    <a:pt x="193226" y="19431"/>
                    <a:pt x="193987" y="21308"/>
                  </a:cubicBezTo>
                  <a:lnTo>
                    <a:pt x="193987" y="21308"/>
                  </a:lnTo>
                  <a:cubicBezTo>
                    <a:pt x="194750" y="23203"/>
                    <a:pt x="195883" y="24918"/>
                    <a:pt x="197321" y="26356"/>
                  </a:cubicBezTo>
                  <a:cubicBezTo>
                    <a:pt x="198083" y="27099"/>
                    <a:pt x="198912" y="27775"/>
                    <a:pt x="199798" y="28356"/>
                  </a:cubicBezTo>
                  <a:lnTo>
                    <a:pt x="199798" y="28356"/>
                  </a:lnTo>
                  <a:lnTo>
                    <a:pt x="201322" y="29214"/>
                  </a:lnTo>
                  <a:close/>
                  <a:moveTo>
                    <a:pt x="239708" y="16069"/>
                  </a:moveTo>
                  <a:lnTo>
                    <a:pt x="239708" y="94460"/>
                  </a:lnTo>
                  <a:cubicBezTo>
                    <a:pt x="241555" y="92612"/>
                    <a:pt x="243536" y="90897"/>
                    <a:pt x="245613" y="89316"/>
                  </a:cubicBezTo>
                  <a:cubicBezTo>
                    <a:pt x="248109" y="87535"/>
                    <a:pt x="250795" y="86030"/>
                    <a:pt x="253614" y="84839"/>
                  </a:cubicBezTo>
                  <a:lnTo>
                    <a:pt x="253614" y="23022"/>
                  </a:lnTo>
                  <a:lnTo>
                    <a:pt x="298858" y="23022"/>
                  </a:lnTo>
                  <a:lnTo>
                    <a:pt x="299620" y="24165"/>
                  </a:lnTo>
                  <a:cubicBezTo>
                    <a:pt x="300172" y="24937"/>
                    <a:pt x="300772" y="25670"/>
                    <a:pt x="301429" y="26356"/>
                  </a:cubicBezTo>
                  <a:cubicBezTo>
                    <a:pt x="302868" y="27794"/>
                    <a:pt x="304582" y="28928"/>
                    <a:pt x="306478" y="29690"/>
                  </a:cubicBezTo>
                  <a:cubicBezTo>
                    <a:pt x="308383" y="30452"/>
                    <a:pt x="310421" y="30842"/>
                    <a:pt x="312478" y="30833"/>
                  </a:cubicBezTo>
                  <a:cubicBezTo>
                    <a:pt x="314507" y="30852"/>
                    <a:pt x="316508" y="30461"/>
                    <a:pt x="318384" y="29690"/>
                  </a:cubicBezTo>
                  <a:cubicBezTo>
                    <a:pt x="320318" y="28956"/>
                    <a:pt x="322070" y="27823"/>
                    <a:pt x="323528" y="26356"/>
                  </a:cubicBezTo>
                  <a:cubicBezTo>
                    <a:pt x="324937" y="24889"/>
                    <a:pt x="326071" y="23184"/>
                    <a:pt x="326861" y="21308"/>
                  </a:cubicBezTo>
                  <a:cubicBezTo>
                    <a:pt x="328385" y="17450"/>
                    <a:pt x="328385" y="13164"/>
                    <a:pt x="326861" y="9306"/>
                  </a:cubicBezTo>
                  <a:cubicBezTo>
                    <a:pt x="325328" y="5449"/>
                    <a:pt x="322251" y="2410"/>
                    <a:pt x="318384" y="924"/>
                  </a:cubicBezTo>
                  <a:cubicBezTo>
                    <a:pt x="316479" y="162"/>
                    <a:pt x="314441" y="-228"/>
                    <a:pt x="312383" y="-219"/>
                  </a:cubicBezTo>
                  <a:cubicBezTo>
                    <a:pt x="310402" y="-209"/>
                    <a:pt x="308430" y="143"/>
                    <a:pt x="306573" y="829"/>
                  </a:cubicBezTo>
                  <a:lnTo>
                    <a:pt x="306573" y="829"/>
                  </a:lnTo>
                  <a:cubicBezTo>
                    <a:pt x="304678" y="1591"/>
                    <a:pt x="302963" y="2724"/>
                    <a:pt x="301525" y="4163"/>
                  </a:cubicBezTo>
                  <a:cubicBezTo>
                    <a:pt x="300630" y="5058"/>
                    <a:pt x="299829" y="6049"/>
                    <a:pt x="299144" y="7115"/>
                  </a:cubicBezTo>
                  <a:lnTo>
                    <a:pt x="298191" y="9021"/>
                  </a:lnTo>
                  <a:lnTo>
                    <a:pt x="246756" y="9021"/>
                  </a:lnTo>
                  <a:cubicBezTo>
                    <a:pt x="242965" y="8963"/>
                    <a:pt x="239860" y="11992"/>
                    <a:pt x="239803" y="15783"/>
                  </a:cubicBezTo>
                  <a:cubicBezTo>
                    <a:pt x="239803" y="15850"/>
                    <a:pt x="239803" y="15907"/>
                    <a:pt x="239803" y="15974"/>
                  </a:cubicBezTo>
                  <a:close/>
                  <a:moveTo>
                    <a:pt x="273236" y="70457"/>
                  </a:moveTo>
                  <a:lnTo>
                    <a:pt x="273236" y="81220"/>
                  </a:lnTo>
                  <a:cubicBezTo>
                    <a:pt x="274674" y="81287"/>
                    <a:pt x="276103" y="81439"/>
                    <a:pt x="277522" y="81696"/>
                  </a:cubicBezTo>
                  <a:cubicBezTo>
                    <a:pt x="280770" y="82153"/>
                    <a:pt x="283961" y="82954"/>
                    <a:pt x="287047" y="84077"/>
                  </a:cubicBezTo>
                  <a:lnTo>
                    <a:pt x="287047" y="77505"/>
                  </a:lnTo>
                  <a:lnTo>
                    <a:pt x="307526" y="77505"/>
                  </a:lnTo>
                  <a:cubicBezTo>
                    <a:pt x="307811" y="78039"/>
                    <a:pt x="308126" y="78544"/>
                    <a:pt x="308478" y="79029"/>
                  </a:cubicBezTo>
                  <a:cubicBezTo>
                    <a:pt x="309059" y="80001"/>
                    <a:pt x="309764" y="80896"/>
                    <a:pt x="310573" y="81696"/>
                  </a:cubicBezTo>
                  <a:lnTo>
                    <a:pt x="310573" y="81696"/>
                  </a:lnTo>
                  <a:cubicBezTo>
                    <a:pt x="312040" y="83106"/>
                    <a:pt x="313745" y="84239"/>
                    <a:pt x="315622" y="85030"/>
                  </a:cubicBezTo>
                  <a:cubicBezTo>
                    <a:pt x="319441" y="86554"/>
                    <a:pt x="323709" y="86554"/>
                    <a:pt x="327528" y="85030"/>
                  </a:cubicBezTo>
                  <a:cubicBezTo>
                    <a:pt x="329357" y="84249"/>
                    <a:pt x="331033" y="83154"/>
                    <a:pt x="332481" y="81792"/>
                  </a:cubicBezTo>
                  <a:lnTo>
                    <a:pt x="332481" y="81792"/>
                  </a:lnTo>
                  <a:cubicBezTo>
                    <a:pt x="333919" y="80353"/>
                    <a:pt x="335053" y="78639"/>
                    <a:pt x="335815" y="76743"/>
                  </a:cubicBezTo>
                  <a:cubicBezTo>
                    <a:pt x="337472" y="72914"/>
                    <a:pt x="337472" y="68571"/>
                    <a:pt x="335815" y="64742"/>
                  </a:cubicBezTo>
                  <a:cubicBezTo>
                    <a:pt x="335072" y="62894"/>
                    <a:pt x="333967" y="61218"/>
                    <a:pt x="332576" y="59789"/>
                  </a:cubicBezTo>
                  <a:lnTo>
                    <a:pt x="332576" y="59789"/>
                  </a:lnTo>
                  <a:cubicBezTo>
                    <a:pt x="331176" y="58351"/>
                    <a:pt x="329490" y="57217"/>
                    <a:pt x="327623" y="56455"/>
                  </a:cubicBezTo>
                  <a:lnTo>
                    <a:pt x="327623" y="56455"/>
                  </a:lnTo>
                  <a:cubicBezTo>
                    <a:pt x="325728" y="55645"/>
                    <a:pt x="323689" y="55226"/>
                    <a:pt x="321622" y="55217"/>
                  </a:cubicBezTo>
                  <a:cubicBezTo>
                    <a:pt x="319594" y="55245"/>
                    <a:pt x="317584" y="55664"/>
                    <a:pt x="315717" y="56455"/>
                  </a:cubicBezTo>
                  <a:cubicBezTo>
                    <a:pt x="313879" y="57217"/>
                    <a:pt x="312202" y="58312"/>
                    <a:pt x="310764" y="59694"/>
                  </a:cubicBezTo>
                  <a:lnTo>
                    <a:pt x="310764" y="59694"/>
                  </a:lnTo>
                  <a:cubicBezTo>
                    <a:pt x="309993" y="60484"/>
                    <a:pt x="309288" y="61351"/>
                    <a:pt x="308669" y="62265"/>
                  </a:cubicBezTo>
                  <a:cubicBezTo>
                    <a:pt x="308354" y="62713"/>
                    <a:pt x="308107" y="63189"/>
                    <a:pt x="307906" y="63694"/>
                  </a:cubicBezTo>
                  <a:lnTo>
                    <a:pt x="280379" y="63694"/>
                  </a:lnTo>
                  <a:cubicBezTo>
                    <a:pt x="276588" y="63637"/>
                    <a:pt x="273483" y="66666"/>
                    <a:pt x="273426" y="70457"/>
                  </a:cubicBezTo>
                  <a:cubicBezTo>
                    <a:pt x="273426" y="70485"/>
                    <a:pt x="273426" y="70524"/>
                    <a:pt x="273426" y="70552"/>
                  </a:cubicBezTo>
                  <a:close/>
                  <a:moveTo>
                    <a:pt x="73782" y="137894"/>
                  </a:moveTo>
                  <a:cubicBezTo>
                    <a:pt x="75306" y="141713"/>
                    <a:pt x="75306" y="145981"/>
                    <a:pt x="73782" y="149800"/>
                  </a:cubicBezTo>
                  <a:cubicBezTo>
                    <a:pt x="73020" y="151629"/>
                    <a:pt x="71886" y="153286"/>
                    <a:pt x="70448" y="154658"/>
                  </a:cubicBezTo>
                  <a:lnTo>
                    <a:pt x="70448" y="154658"/>
                  </a:lnTo>
                  <a:cubicBezTo>
                    <a:pt x="69667" y="155477"/>
                    <a:pt x="68762" y="156191"/>
                    <a:pt x="67781" y="156753"/>
                  </a:cubicBezTo>
                  <a:cubicBezTo>
                    <a:pt x="67276" y="157096"/>
                    <a:pt x="66734" y="157382"/>
                    <a:pt x="66162" y="157610"/>
                  </a:cubicBezTo>
                  <a:lnTo>
                    <a:pt x="66162" y="182376"/>
                  </a:lnTo>
                  <a:lnTo>
                    <a:pt x="91879" y="182376"/>
                  </a:lnTo>
                  <a:lnTo>
                    <a:pt x="91879" y="183995"/>
                  </a:lnTo>
                  <a:cubicBezTo>
                    <a:pt x="91879" y="184947"/>
                    <a:pt x="91879" y="185900"/>
                    <a:pt x="91879" y="186948"/>
                  </a:cubicBezTo>
                  <a:cubicBezTo>
                    <a:pt x="91879" y="187843"/>
                    <a:pt x="91460" y="188691"/>
                    <a:pt x="90736" y="189234"/>
                  </a:cubicBezTo>
                  <a:cubicBezTo>
                    <a:pt x="87546" y="191491"/>
                    <a:pt x="84517" y="193967"/>
                    <a:pt x="81688" y="196663"/>
                  </a:cubicBezTo>
                  <a:lnTo>
                    <a:pt x="59209" y="196663"/>
                  </a:lnTo>
                  <a:cubicBezTo>
                    <a:pt x="57389" y="196663"/>
                    <a:pt x="55637" y="195949"/>
                    <a:pt x="54351" y="194663"/>
                  </a:cubicBezTo>
                  <a:cubicBezTo>
                    <a:pt x="53018" y="193358"/>
                    <a:pt x="52265" y="191577"/>
                    <a:pt x="52255" y="189710"/>
                  </a:cubicBezTo>
                  <a:lnTo>
                    <a:pt x="52255" y="157801"/>
                  </a:lnTo>
                  <a:cubicBezTo>
                    <a:pt x="51760" y="157553"/>
                    <a:pt x="51284" y="157268"/>
                    <a:pt x="50827" y="156944"/>
                  </a:cubicBezTo>
                  <a:cubicBezTo>
                    <a:pt x="49998" y="156420"/>
                    <a:pt x="49236" y="155820"/>
                    <a:pt x="48541" y="155134"/>
                  </a:cubicBezTo>
                  <a:lnTo>
                    <a:pt x="48541" y="155134"/>
                  </a:lnTo>
                  <a:cubicBezTo>
                    <a:pt x="47103" y="153677"/>
                    <a:pt x="45940" y="151962"/>
                    <a:pt x="45112" y="150086"/>
                  </a:cubicBezTo>
                  <a:cubicBezTo>
                    <a:pt x="44388" y="148200"/>
                    <a:pt x="43997" y="146200"/>
                    <a:pt x="43969" y="144180"/>
                  </a:cubicBezTo>
                  <a:cubicBezTo>
                    <a:pt x="43959" y="142151"/>
                    <a:pt x="44350" y="140151"/>
                    <a:pt x="45112" y="138275"/>
                  </a:cubicBezTo>
                  <a:lnTo>
                    <a:pt x="45112" y="138275"/>
                  </a:lnTo>
                  <a:cubicBezTo>
                    <a:pt x="45940" y="136398"/>
                    <a:pt x="47103" y="134684"/>
                    <a:pt x="48541" y="133227"/>
                  </a:cubicBezTo>
                  <a:cubicBezTo>
                    <a:pt x="49979" y="131788"/>
                    <a:pt x="51694" y="130655"/>
                    <a:pt x="53589" y="129893"/>
                  </a:cubicBezTo>
                  <a:cubicBezTo>
                    <a:pt x="55485" y="129083"/>
                    <a:pt x="57523" y="128664"/>
                    <a:pt x="59590" y="128655"/>
                  </a:cubicBezTo>
                  <a:cubicBezTo>
                    <a:pt x="61619" y="128693"/>
                    <a:pt x="63619" y="129112"/>
                    <a:pt x="65495" y="129893"/>
                  </a:cubicBezTo>
                  <a:cubicBezTo>
                    <a:pt x="67391" y="130655"/>
                    <a:pt x="69105" y="131788"/>
                    <a:pt x="70544" y="133227"/>
                  </a:cubicBezTo>
                  <a:cubicBezTo>
                    <a:pt x="71934" y="134741"/>
                    <a:pt x="73058" y="136484"/>
                    <a:pt x="73877" y="138370"/>
                  </a:cubicBezTo>
                  <a:close/>
                  <a:moveTo>
                    <a:pt x="29681" y="217332"/>
                  </a:moveTo>
                  <a:lnTo>
                    <a:pt x="66543" y="217332"/>
                  </a:lnTo>
                  <a:cubicBezTo>
                    <a:pt x="65876" y="218666"/>
                    <a:pt x="65400" y="220190"/>
                    <a:pt x="64828" y="221619"/>
                  </a:cubicBezTo>
                  <a:cubicBezTo>
                    <a:pt x="63790" y="224724"/>
                    <a:pt x="63019" y="227905"/>
                    <a:pt x="62543" y="231144"/>
                  </a:cubicBezTo>
                  <a:lnTo>
                    <a:pt x="29681" y="231144"/>
                  </a:lnTo>
                  <a:lnTo>
                    <a:pt x="28824" y="232667"/>
                  </a:lnTo>
                  <a:cubicBezTo>
                    <a:pt x="28233" y="233582"/>
                    <a:pt x="27567" y="234439"/>
                    <a:pt x="26824" y="235239"/>
                  </a:cubicBezTo>
                  <a:cubicBezTo>
                    <a:pt x="25347" y="236687"/>
                    <a:pt x="23604" y="237821"/>
                    <a:pt x="21680" y="238573"/>
                  </a:cubicBezTo>
                  <a:cubicBezTo>
                    <a:pt x="19813" y="239373"/>
                    <a:pt x="17803" y="239792"/>
                    <a:pt x="15775" y="239811"/>
                  </a:cubicBezTo>
                  <a:cubicBezTo>
                    <a:pt x="13755" y="239773"/>
                    <a:pt x="11755" y="239383"/>
                    <a:pt x="9869" y="238668"/>
                  </a:cubicBezTo>
                  <a:lnTo>
                    <a:pt x="9869" y="238668"/>
                  </a:lnTo>
                  <a:cubicBezTo>
                    <a:pt x="6050" y="237135"/>
                    <a:pt x="3021" y="234106"/>
                    <a:pt x="1487" y="230286"/>
                  </a:cubicBezTo>
                  <a:cubicBezTo>
                    <a:pt x="697" y="228381"/>
                    <a:pt x="277" y="226343"/>
                    <a:pt x="249" y="224286"/>
                  </a:cubicBezTo>
                  <a:cubicBezTo>
                    <a:pt x="268" y="222257"/>
                    <a:pt x="687" y="220247"/>
                    <a:pt x="1487" y="218380"/>
                  </a:cubicBezTo>
                  <a:cubicBezTo>
                    <a:pt x="2221" y="216447"/>
                    <a:pt x="3354" y="214694"/>
                    <a:pt x="4821" y="213237"/>
                  </a:cubicBezTo>
                  <a:cubicBezTo>
                    <a:pt x="6288" y="211827"/>
                    <a:pt x="7993" y="210693"/>
                    <a:pt x="9869" y="209903"/>
                  </a:cubicBezTo>
                  <a:cubicBezTo>
                    <a:pt x="11774" y="209141"/>
                    <a:pt x="13813" y="208750"/>
                    <a:pt x="15870" y="208760"/>
                  </a:cubicBezTo>
                  <a:cubicBezTo>
                    <a:pt x="17861" y="208750"/>
                    <a:pt x="19842" y="209141"/>
                    <a:pt x="21680" y="209903"/>
                  </a:cubicBezTo>
                  <a:lnTo>
                    <a:pt x="21680" y="209903"/>
                  </a:lnTo>
                  <a:cubicBezTo>
                    <a:pt x="23585" y="210693"/>
                    <a:pt x="25328" y="211827"/>
                    <a:pt x="26824" y="213237"/>
                  </a:cubicBezTo>
                  <a:lnTo>
                    <a:pt x="28824" y="215713"/>
                  </a:lnTo>
                  <a:lnTo>
                    <a:pt x="28824" y="215713"/>
                  </a:lnTo>
                  <a:lnTo>
                    <a:pt x="29681" y="217237"/>
                  </a:lnTo>
                  <a:close/>
                  <a:moveTo>
                    <a:pt x="16537" y="255432"/>
                  </a:moveTo>
                  <a:lnTo>
                    <a:pt x="64162" y="255432"/>
                  </a:lnTo>
                  <a:cubicBezTo>
                    <a:pt x="65743" y="260242"/>
                    <a:pt x="67877" y="264843"/>
                    <a:pt x="70544" y="269148"/>
                  </a:cubicBezTo>
                  <a:lnTo>
                    <a:pt x="70544" y="269148"/>
                  </a:lnTo>
                  <a:lnTo>
                    <a:pt x="70544" y="269148"/>
                  </a:lnTo>
                  <a:lnTo>
                    <a:pt x="22919" y="269148"/>
                  </a:lnTo>
                  <a:lnTo>
                    <a:pt x="22919" y="314487"/>
                  </a:lnTo>
                  <a:lnTo>
                    <a:pt x="24061" y="315154"/>
                  </a:lnTo>
                  <a:cubicBezTo>
                    <a:pt x="24852" y="315678"/>
                    <a:pt x="25586" y="316288"/>
                    <a:pt x="26252" y="316964"/>
                  </a:cubicBezTo>
                  <a:cubicBezTo>
                    <a:pt x="27691" y="318421"/>
                    <a:pt x="28852" y="320136"/>
                    <a:pt x="29681" y="322012"/>
                  </a:cubicBezTo>
                  <a:cubicBezTo>
                    <a:pt x="32158" y="327860"/>
                    <a:pt x="30796" y="334623"/>
                    <a:pt x="26252" y="339062"/>
                  </a:cubicBezTo>
                  <a:cubicBezTo>
                    <a:pt x="24785" y="340472"/>
                    <a:pt x="23080" y="341605"/>
                    <a:pt x="21204" y="342396"/>
                  </a:cubicBezTo>
                  <a:cubicBezTo>
                    <a:pt x="19299" y="343177"/>
                    <a:pt x="17261" y="343567"/>
                    <a:pt x="15203" y="343539"/>
                  </a:cubicBezTo>
                  <a:cubicBezTo>
                    <a:pt x="13184" y="343539"/>
                    <a:pt x="11174" y="343148"/>
                    <a:pt x="9298" y="342396"/>
                  </a:cubicBezTo>
                  <a:cubicBezTo>
                    <a:pt x="7421" y="341605"/>
                    <a:pt x="5716" y="340472"/>
                    <a:pt x="4250" y="339062"/>
                  </a:cubicBezTo>
                  <a:cubicBezTo>
                    <a:pt x="2849" y="337538"/>
                    <a:pt x="1697" y="335795"/>
                    <a:pt x="820" y="333918"/>
                  </a:cubicBezTo>
                  <a:cubicBezTo>
                    <a:pt x="59" y="332013"/>
                    <a:pt x="-332" y="329975"/>
                    <a:pt x="-322" y="327917"/>
                  </a:cubicBezTo>
                  <a:cubicBezTo>
                    <a:pt x="-332" y="325927"/>
                    <a:pt x="59" y="323946"/>
                    <a:pt x="820" y="322107"/>
                  </a:cubicBezTo>
                  <a:lnTo>
                    <a:pt x="820" y="322107"/>
                  </a:lnTo>
                  <a:cubicBezTo>
                    <a:pt x="1649" y="320202"/>
                    <a:pt x="2811" y="318459"/>
                    <a:pt x="4250" y="316964"/>
                  </a:cubicBezTo>
                  <a:cubicBezTo>
                    <a:pt x="5126" y="316078"/>
                    <a:pt x="6126" y="315307"/>
                    <a:pt x="7202" y="314678"/>
                  </a:cubicBezTo>
                  <a:lnTo>
                    <a:pt x="9012" y="313725"/>
                  </a:lnTo>
                  <a:lnTo>
                    <a:pt x="9012" y="262290"/>
                  </a:lnTo>
                  <a:cubicBezTo>
                    <a:pt x="9021" y="260423"/>
                    <a:pt x="9774" y="258642"/>
                    <a:pt x="11108" y="257337"/>
                  </a:cubicBezTo>
                  <a:cubicBezTo>
                    <a:pt x="12422" y="256032"/>
                    <a:pt x="14203" y="255308"/>
                    <a:pt x="16061" y="255337"/>
                  </a:cubicBezTo>
                  <a:close/>
                  <a:moveTo>
                    <a:pt x="70925" y="288960"/>
                  </a:moveTo>
                  <a:lnTo>
                    <a:pt x="83307" y="288960"/>
                  </a:lnTo>
                  <a:cubicBezTo>
                    <a:pt x="82869" y="291475"/>
                    <a:pt x="82612" y="294028"/>
                    <a:pt x="82545" y="296580"/>
                  </a:cubicBezTo>
                  <a:cubicBezTo>
                    <a:pt x="82402" y="298676"/>
                    <a:pt x="82402" y="300771"/>
                    <a:pt x="82545" y="302867"/>
                  </a:cubicBezTo>
                  <a:lnTo>
                    <a:pt x="77211" y="302867"/>
                  </a:lnTo>
                  <a:lnTo>
                    <a:pt x="77211" y="323346"/>
                  </a:lnTo>
                  <a:cubicBezTo>
                    <a:pt x="77754" y="323555"/>
                    <a:pt x="78268" y="323851"/>
                    <a:pt x="78735" y="324203"/>
                  </a:cubicBezTo>
                  <a:cubicBezTo>
                    <a:pt x="79687" y="324822"/>
                    <a:pt x="80583" y="325517"/>
                    <a:pt x="81402" y="326298"/>
                  </a:cubicBezTo>
                  <a:lnTo>
                    <a:pt x="81402" y="326298"/>
                  </a:lnTo>
                  <a:cubicBezTo>
                    <a:pt x="82840" y="327737"/>
                    <a:pt x="83974" y="329451"/>
                    <a:pt x="84736" y="331347"/>
                  </a:cubicBezTo>
                  <a:cubicBezTo>
                    <a:pt x="85498" y="333252"/>
                    <a:pt x="85888" y="335290"/>
                    <a:pt x="85879" y="337347"/>
                  </a:cubicBezTo>
                  <a:cubicBezTo>
                    <a:pt x="85898" y="339376"/>
                    <a:pt x="85507" y="341376"/>
                    <a:pt x="84736" y="343253"/>
                  </a:cubicBezTo>
                  <a:cubicBezTo>
                    <a:pt x="84002" y="345101"/>
                    <a:pt x="82897" y="346787"/>
                    <a:pt x="81497" y="348206"/>
                  </a:cubicBezTo>
                  <a:lnTo>
                    <a:pt x="81497" y="348206"/>
                  </a:lnTo>
                  <a:cubicBezTo>
                    <a:pt x="80030" y="349615"/>
                    <a:pt x="78325" y="350749"/>
                    <a:pt x="76449" y="351540"/>
                  </a:cubicBezTo>
                  <a:cubicBezTo>
                    <a:pt x="72591" y="353064"/>
                    <a:pt x="68305" y="353064"/>
                    <a:pt x="64447" y="351540"/>
                  </a:cubicBezTo>
                  <a:cubicBezTo>
                    <a:pt x="62619" y="350778"/>
                    <a:pt x="60961" y="349644"/>
                    <a:pt x="59590" y="348206"/>
                  </a:cubicBezTo>
                  <a:lnTo>
                    <a:pt x="59590" y="348206"/>
                  </a:lnTo>
                  <a:cubicBezTo>
                    <a:pt x="58199" y="346758"/>
                    <a:pt x="57075" y="345081"/>
                    <a:pt x="56256" y="343253"/>
                  </a:cubicBezTo>
                  <a:lnTo>
                    <a:pt x="56256" y="343253"/>
                  </a:lnTo>
                  <a:cubicBezTo>
                    <a:pt x="55485" y="341376"/>
                    <a:pt x="55094" y="339376"/>
                    <a:pt x="55113" y="337347"/>
                  </a:cubicBezTo>
                  <a:cubicBezTo>
                    <a:pt x="55103" y="335290"/>
                    <a:pt x="55494" y="333252"/>
                    <a:pt x="56256" y="331347"/>
                  </a:cubicBezTo>
                  <a:cubicBezTo>
                    <a:pt x="57037" y="329518"/>
                    <a:pt x="58132" y="327841"/>
                    <a:pt x="59495" y="326394"/>
                  </a:cubicBezTo>
                  <a:lnTo>
                    <a:pt x="59495" y="326394"/>
                  </a:lnTo>
                  <a:cubicBezTo>
                    <a:pt x="60266" y="325622"/>
                    <a:pt x="61133" y="324955"/>
                    <a:pt x="62066" y="324393"/>
                  </a:cubicBezTo>
                  <a:lnTo>
                    <a:pt x="63495" y="323536"/>
                  </a:lnTo>
                  <a:lnTo>
                    <a:pt x="63495" y="296009"/>
                  </a:lnTo>
                  <a:cubicBezTo>
                    <a:pt x="63495" y="294190"/>
                    <a:pt x="64209" y="292437"/>
                    <a:pt x="65495" y="291151"/>
                  </a:cubicBezTo>
                  <a:cubicBezTo>
                    <a:pt x="66781" y="289799"/>
                    <a:pt x="68581" y="289037"/>
                    <a:pt x="70448" y="289056"/>
                  </a:cubicBezTo>
                  <a:close/>
                  <a:moveTo>
                    <a:pt x="259138" y="452409"/>
                  </a:moveTo>
                  <a:lnTo>
                    <a:pt x="259138" y="397355"/>
                  </a:lnTo>
                  <a:cubicBezTo>
                    <a:pt x="254081" y="395783"/>
                    <a:pt x="249385" y="393221"/>
                    <a:pt x="245327" y="389830"/>
                  </a:cubicBezTo>
                  <a:lnTo>
                    <a:pt x="245327" y="389830"/>
                  </a:lnTo>
                  <a:lnTo>
                    <a:pt x="245327" y="452314"/>
                  </a:lnTo>
                  <a:lnTo>
                    <a:pt x="243803" y="453171"/>
                  </a:lnTo>
                  <a:cubicBezTo>
                    <a:pt x="242898" y="453771"/>
                    <a:pt x="242070" y="454476"/>
                    <a:pt x="241327" y="455267"/>
                  </a:cubicBezTo>
                  <a:cubicBezTo>
                    <a:pt x="238346" y="458162"/>
                    <a:pt x="236688" y="462163"/>
                    <a:pt x="236755" y="466316"/>
                  </a:cubicBezTo>
                  <a:cubicBezTo>
                    <a:pt x="236745" y="468307"/>
                    <a:pt x="237136" y="470288"/>
                    <a:pt x="237898" y="472126"/>
                  </a:cubicBezTo>
                  <a:lnTo>
                    <a:pt x="237898" y="472126"/>
                  </a:lnTo>
                  <a:cubicBezTo>
                    <a:pt x="238688" y="474022"/>
                    <a:pt x="239860" y="475736"/>
                    <a:pt x="241327" y="477174"/>
                  </a:cubicBezTo>
                  <a:cubicBezTo>
                    <a:pt x="242755" y="478660"/>
                    <a:pt x="244470" y="479822"/>
                    <a:pt x="246375" y="480603"/>
                  </a:cubicBezTo>
                  <a:cubicBezTo>
                    <a:pt x="248261" y="481327"/>
                    <a:pt x="250261" y="481718"/>
                    <a:pt x="252280" y="481746"/>
                  </a:cubicBezTo>
                  <a:cubicBezTo>
                    <a:pt x="254328" y="481708"/>
                    <a:pt x="256357" y="481318"/>
                    <a:pt x="258281" y="480603"/>
                  </a:cubicBezTo>
                  <a:cubicBezTo>
                    <a:pt x="260158" y="479775"/>
                    <a:pt x="261872" y="478613"/>
                    <a:pt x="263329" y="477174"/>
                  </a:cubicBezTo>
                  <a:cubicBezTo>
                    <a:pt x="264768" y="475736"/>
                    <a:pt x="265901" y="474022"/>
                    <a:pt x="266663" y="472126"/>
                  </a:cubicBezTo>
                  <a:cubicBezTo>
                    <a:pt x="267464" y="470259"/>
                    <a:pt x="267882" y="468249"/>
                    <a:pt x="267902" y="466221"/>
                  </a:cubicBezTo>
                  <a:cubicBezTo>
                    <a:pt x="267911" y="464192"/>
                    <a:pt x="267520" y="462191"/>
                    <a:pt x="266759" y="460315"/>
                  </a:cubicBezTo>
                  <a:lnTo>
                    <a:pt x="266759" y="460315"/>
                  </a:lnTo>
                  <a:cubicBezTo>
                    <a:pt x="265996" y="458420"/>
                    <a:pt x="264863" y="456705"/>
                    <a:pt x="263425" y="455267"/>
                  </a:cubicBezTo>
                  <a:cubicBezTo>
                    <a:pt x="262663" y="454524"/>
                    <a:pt x="261834" y="453848"/>
                    <a:pt x="260948" y="453266"/>
                  </a:cubicBezTo>
                  <a:lnTo>
                    <a:pt x="260948" y="453266"/>
                  </a:lnTo>
                  <a:lnTo>
                    <a:pt x="259424" y="452409"/>
                  </a:lnTo>
                  <a:close/>
                  <a:moveTo>
                    <a:pt x="221038" y="465554"/>
                  </a:moveTo>
                  <a:lnTo>
                    <a:pt x="221038" y="386496"/>
                  </a:lnTo>
                  <a:cubicBezTo>
                    <a:pt x="219467" y="388173"/>
                    <a:pt x="217743" y="389706"/>
                    <a:pt x="215895" y="391068"/>
                  </a:cubicBezTo>
                  <a:cubicBezTo>
                    <a:pt x="213190" y="393126"/>
                    <a:pt x="210247" y="394850"/>
                    <a:pt x="207132" y="396212"/>
                  </a:cubicBezTo>
                  <a:lnTo>
                    <a:pt x="207132" y="458696"/>
                  </a:lnTo>
                  <a:lnTo>
                    <a:pt x="161888" y="458696"/>
                  </a:lnTo>
                  <a:lnTo>
                    <a:pt x="161126" y="457553"/>
                  </a:lnTo>
                  <a:cubicBezTo>
                    <a:pt x="160574" y="456781"/>
                    <a:pt x="159974" y="456048"/>
                    <a:pt x="159317" y="455362"/>
                  </a:cubicBezTo>
                  <a:cubicBezTo>
                    <a:pt x="157878" y="453924"/>
                    <a:pt x="156164" y="452790"/>
                    <a:pt x="154268" y="452028"/>
                  </a:cubicBezTo>
                  <a:cubicBezTo>
                    <a:pt x="152373" y="451219"/>
                    <a:pt x="150334" y="450790"/>
                    <a:pt x="148268" y="450790"/>
                  </a:cubicBezTo>
                  <a:cubicBezTo>
                    <a:pt x="146239" y="450819"/>
                    <a:pt x="144229" y="451238"/>
                    <a:pt x="142362" y="452028"/>
                  </a:cubicBezTo>
                  <a:cubicBezTo>
                    <a:pt x="140467" y="452790"/>
                    <a:pt x="138752" y="453924"/>
                    <a:pt x="137314" y="455362"/>
                  </a:cubicBezTo>
                  <a:cubicBezTo>
                    <a:pt x="135847" y="456800"/>
                    <a:pt x="134675" y="458515"/>
                    <a:pt x="133885" y="460410"/>
                  </a:cubicBezTo>
                  <a:cubicBezTo>
                    <a:pt x="132361" y="464268"/>
                    <a:pt x="132361" y="468554"/>
                    <a:pt x="133885" y="472412"/>
                  </a:cubicBezTo>
                  <a:cubicBezTo>
                    <a:pt x="134675" y="474307"/>
                    <a:pt x="135847" y="476022"/>
                    <a:pt x="137314" y="477460"/>
                  </a:cubicBezTo>
                  <a:cubicBezTo>
                    <a:pt x="138761" y="478889"/>
                    <a:pt x="140476" y="480022"/>
                    <a:pt x="142362" y="480794"/>
                  </a:cubicBezTo>
                  <a:cubicBezTo>
                    <a:pt x="144238" y="481565"/>
                    <a:pt x="146239" y="481956"/>
                    <a:pt x="148268" y="481937"/>
                  </a:cubicBezTo>
                  <a:cubicBezTo>
                    <a:pt x="150296" y="481946"/>
                    <a:pt x="152297" y="481556"/>
                    <a:pt x="154173" y="480794"/>
                  </a:cubicBezTo>
                  <a:lnTo>
                    <a:pt x="154173" y="480794"/>
                  </a:lnTo>
                  <a:cubicBezTo>
                    <a:pt x="156049" y="480003"/>
                    <a:pt x="157754" y="478870"/>
                    <a:pt x="159221" y="477460"/>
                  </a:cubicBezTo>
                  <a:cubicBezTo>
                    <a:pt x="160088" y="476565"/>
                    <a:pt x="160850" y="475574"/>
                    <a:pt x="161507" y="474507"/>
                  </a:cubicBezTo>
                  <a:cubicBezTo>
                    <a:pt x="161917" y="473907"/>
                    <a:pt x="162260" y="473269"/>
                    <a:pt x="162555" y="472602"/>
                  </a:cubicBezTo>
                  <a:lnTo>
                    <a:pt x="213990" y="472602"/>
                  </a:lnTo>
                  <a:cubicBezTo>
                    <a:pt x="215809" y="472602"/>
                    <a:pt x="217562" y="471888"/>
                    <a:pt x="218848" y="470602"/>
                  </a:cubicBezTo>
                  <a:cubicBezTo>
                    <a:pt x="220191" y="469259"/>
                    <a:pt x="220943" y="467449"/>
                    <a:pt x="220943" y="465554"/>
                  </a:cubicBezTo>
                  <a:close/>
                  <a:moveTo>
                    <a:pt x="187606" y="411166"/>
                  </a:moveTo>
                  <a:lnTo>
                    <a:pt x="187606" y="399736"/>
                  </a:lnTo>
                  <a:cubicBezTo>
                    <a:pt x="184386" y="399660"/>
                    <a:pt x="181196" y="399212"/>
                    <a:pt x="178081" y="398403"/>
                  </a:cubicBezTo>
                  <a:cubicBezTo>
                    <a:pt x="176461" y="398031"/>
                    <a:pt x="174871" y="397545"/>
                    <a:pt x="173318" y="396974"/>
                  </a:cubicBezTo>
                  <a:lnTo>
                    <a:pt x="173318" y="404308"/>
                  </a:lnTo>
                  <a:lnTo>
                    <a:pt x="152839" y="404308"/>
                  </a:lnTo>
                  <a:lnTo>
                    <a:pt x="151887" y="402689"/>
                  </a:lnTo>
                  <a:cubicBezTo>
                    <a:pt x="151325" y="401727"/>
                    <a:pt x="150620" y="400860"/>
                    <a:pt x="149792" y="400117"/>
                  </a:cubicBezTo>
                  <a:lnTo>
                    <a:pt x="149792" y="400117"/>
                  </a:lnTo>
                  <a:cubicBezTo>
                    <a:pt x="148334" y="398679"/>
                    <a:pt x="146620" y="397517"/>
                    <a:pt x="144743" y="396688"/>
                  </a:cubicBezTo>
                  <a:cubicBezTo>
                    <a:pt x="142867" y="395916"/>
                    <a:pt x="140867" y="395526"/>
                    <a:pt x="138838" y="395545"/>
                  </a:cubicBezTo>
                  <a:cubicBezTo>
                    <a:pt x="136780" y="395536"/>
                    <a:pt x="134742" y="395926"/>
                    <a:pt x="132837" y="396688"/>
                  </a:cubicBezTo>
                  <a:cubicBezTo>
                    <a:pt x="131027" y="397507"/>
                    <a:pt x="129360" y="398593"/>
                    <a:pt x="127884" y="399927"/>
                  </a:cubicBezTo>
                  <a:lnTo>
                    <a:pt x="127884" y="399927"/>
                  </a:lnTo>
                  <a:cubicBezTo>
                    <a:pt x="126446" y="401365"/>
                    <a:pt x="125312" y="403079"/>
                    <a:pt x="124550" y="404975"/>
                  </a:cubicBezTo>
                  <a:cubicBezTo>
                    <a:pt x="122893" y="408804"/>
                    <a:pt x="122893" y="413147"/>
                    <a:pt x="124550" y="416976"/>
                  </a:cubicBezTo>
                  <a:cubicBezTo>
                    <a:pt x="125274" y="418805"/>
                    <a:pt x="126379" y="420462"/>
                    <a:pt x="127789" y="421834"/>
                  </a:cubicBezTo>
                  <a:lnTo>
                    <a:pt x="127789" y="421834"/>
                  </a:lnTo>
                  <a:cubicBezTo>
                    <a:pt x="129218" y="423244"/>
                    <a:pt x="130894" y="424377"/>
                    <a:pt x="132742" y="425168"/>
                  </a:cubicBezTo>
                  <a:lnTo>
                    <a:pt x="132742" y="425168"/>
                  </a:lnTo>
                  <a:cubicBezTo>
                    <a:pt x="134647" y="425930"/>
                    <a:pt x="136685" y="426320"/>
                    <a:pt x="138743" y="426311"/>
                  </a:cubicBezTo>
                  <a:cubicBezTo>
                    <a:pt x="140771" y="426330"/>
                    <a:pt x="142772" y="425939"/>
                    <a:pt x="144648" y="425168"/>
                  </a:cubicBezTo>
                  <a:cubicBezTo>
                    <a:pt x="146610" y="424511"/>
                    <a:pt x="148420" y="423472"/>
                    <a:pt x="149982" y="422120"/>
                  </a:cubicBezTo>
                  <a:lnTo>
                    <a:pt x="149982" y="422120"/>
                  </a:lnTo>
                  <a:cubicBezTo>
                    <a:pt x="150696" y="421301"/>
                    <a:pt x="151363" y="420443"/>
                    <a:pt x="151982" y="419548"/>
                  </a:cubicBezTo>
                  <a:lnTo>
                    <a:pt x="152839" y="418119"/>
                  </a:lnTo>
                  <a:lnTo>
                    <a:pt x="180367" y="418119"/>
                  </a:lnTo>
                  <a:cubicBezTo>
                    <a:pt x="182186" y="418119"/>
                    <a:pt x="183939" y="417405"/>
                    <a:pt x="185225" y="416119"/>
                  </a:cubicBezTo>
                  <a:cubicBezTo>
                    <a:pt x="186539" y="414805"/>
                    <a:pt x="187291" y="413024"/>
                    <a:pt x="187320" y="411166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5" name="Grafik 5">
              <a:extLst>
                <a:ext uri="{FF2B5EF4-FFF2-40B4-BE49-F238E27FC236}">
                  <a16:creationId xmlns:a16="http://schemas.microsoft.com/office/drawing/2014/main" id="{0F411377-0C60-4E80-9A54-D69AF3A9013F}"/>
                </a:ext>
              </a:extLst>
            </p:cNvPr>
            <p:cNvSpPr/>
            <p:nvPr/>
          </p:nvSpPr>
          <p:spPr>
            <a:xfrm>
              <a:off x="4967898" y="5518168"/>
              <a:ext cx="416587" cy="264985"/>
            </a:xfrm>
            <a:custGeom>
              <a:avLst/>
              <a:gdLst>
                <a:gd name="connsiteX0" fmla="*/ 406966 w 416587"/>
                <a:gd name="connsiteY0" fmla="*/ 264481 h 264985"/>
                <a:gd name="connsiteX1" fmla="*/ 406966 w 416587"/>
                <a:gd name="connsiteY1" fmla="*/ 264481 h 264985"/>
                <a:gd name="connsiteX2" fmla="*/ 398584 w 416587"/>
                <a:gd name="connsiteY2" fmla="*/ 256289 h 264985"/>
                <a:gd name="connsiteX3" fmla="*/ 398584 w 416587"/>
                <a:gd name="connsiteY3" fmla="*/ 256194 h 264985"/>
                <a:gd name="connsiteX4" fmla="*/ 349816 w 416587"/>
                <a:gd name="connsiteY4" fmla="*/ 64075 h 264985"/>
                <a:gd name="connsiteX5" fmla="*/ 207513 w 416587"/>
                <a:gd name="connsiteY5" fmla="*/ 16450 h 264985"/>
                <a:gd name="connsiteX6" fmla="*/ 16346 w 416587"/>
                <a:gd name="connsiteY6" fmla="*/ 256384 h 264985"/>
                <a:gd name="connsiteX7" fmla="*/ 7964 w 416587"/>
                <a:gd name="connsiteY7" fmla="*/ 264766 h 264985"/>
                <a:gd name="connsiteX8" fmla="*/ -323 w 416587"/>
                <a:gd name="connsiteY8" fmla="*/ 256480 h 264985"/>
                <a:gd name="connsiteX9" fmla="*/ -323 w 416587"/>
                <a:gd name="connsiteY9" fmla="*/ 256384 h 264985"/>
                <a:gd name="connsiteX10" fmla="*/ 207894 w 416587"/>
                <a:gd name="connsiteY10" fmla="*/ -219 h 264985"/>
                <a:gd name="connsiteX11" fmla="*/ 362199 w 416587"/>
                <a:gd name="connsiteY11" fmla="*/ 52549 h 264985"/>
                <a:gd name="connsiteX12" fmla="*/ 415634 w 416587"/>
                <a:gd name="connsiteY12" fmla="*/ 256861 h 264985"/>
                <a:gd name="connsiteX13" fmla="*/ 406966 w 416587"/>
                <a:gd name="connsiteY13" fmla="*/ 264481 h 264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6587" h="264985">
                  <a:moveTo>
                    <a:pt x="406966" y="264481"/>
                  </a:moveTo>
                  <a:lnTo>
                    <a:pt x="406966" y="264481"/>
                  </a:lnTo>
                  <a:cubicBezTo>
                    <a:pt x="402394" y="264538"/>
                    <a:pt x="398642" y="260871"/>
                    <a:pt x="398584" y="256289"/>
                  </a:cubicBezTo>
                  <a:cubicBezTo>
                    <a:pt x="398584" y="256261"/>
                    <a:pt x="398584" y="256222"/>
                    <a:pt x="398584" y="256194"/>
                  </a:cubicBezTo>
                  <a:cubicBezTo>
                    <a:pt x="402680" y="165516"/>
                    <a:pt x="386678" y="102746"/>
                    <a:pt x="349816" y="64075"/>
                  </a:cubicBezTo>
                  <a:cubicBezTo>
                    <a:pt x="318670" y="31595"/>
                    <a:pt x="273616" y="16450"/>
                    <a:pt x="207513" y="16450"/>
                  </a:cubicBezTo>
                  <a:cubicBezTo>
                    <a:pt x="108167" y="16450"/>
                    <a:pt x="16346" y="45501"/>
                    <a:pt x="16346" y="256384"/>
                  </a:cubicBezTo>
                  <a:cubicBezTo>
                    <a:pt x="16298" y="260995"/>
                    <a:pt x="12574" y="264719"/>
                    <a:pt x="7964" y="264766"/>
                  </a:cubicBezTo>
                  <a:cubicBezTo>
                    <a:pt x="3383" y="264766"/>
                    <a:pt x="-323" y="261061"/>
                    <a:pt x="-323" y="256480"/>
                  </a:cubicBezTo>
                  <a:cubicBezTo>
                    <a:pt x="-323" y="256451"/>
                    <a:pt x="-323" y="256413"/>
                    <a:pt x="-323" y="256384"/>
                  </a:cubicBezTo>
                  <a:cubicBezTo>
                    <a:pt x="-323" y="76457"/>
                    <a:pt x="61781" y="-219"/>
                    <a:pt x="207894" y="-219"/>
                  </a:cubicBezTo>
                  <a:cubicBezTo>
                    <a:pt x="277807" y="-219"/>
                    <a:pt x="328290" y="17021"/>
                    <a:pt x="362199" y="52549"/>
                  </a:cubicBezTo>
                  <a:cubicBezTo>
                    <a:pt x="402394" y="94174"/>
                    <a:pt x="419920" y="161420"/>
                    <a:pt x="415634" y="256861"/>
                  </a:cubicBezTo>
                  <a:cubicBezTo>
                    <a:pt x="415329" y="261347"/>
                    <a:pt x="411462" y="264757"/>
                    <a:pt x="406966" y="264481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6" name="Grafik 5">
              <a:extLst>
                <a:ext uri="{FF2B5EF4-FFF2-40B4-BE49-F238E27FC236}">
                  <a16:creationId xmlns:a16="http://schemas.microsoft.com/office/drawing/2014/main" id="{3D97980C-09F2-4E0A-9F77-14C08E506925}"/>
                </a:ext>
              </a:extLst>
            </p:cNvPr>
            <p:cNvSpPr/>
            <p:nvPr/>
          </p:nvSpPr>
          <p:spPr>
            <a:xfrm>
              <a:off x="5333087" y="5766199"/>
              <a:ext cx="84972" cy="174981"/>
            </a:xfrm>
            <a:custGeom>
              <a:avLst/>
              <a:gdLst>
                <a:gd name="connsiteX0" fmla="*/ 19394 w 84972"/>
                <a:gd name="connsiteY0" fmla="*/ 16450 h 174981"/>
                <a:gd name="connsiteX1" fmla="*/ 16346 w 84972"/>
                <a:gd name="connsiteY1" fmla="*/ 19498 h 174981"/>
                <a:gd name="connsiteX2" fmla="*/ 16346 w 84972"/>
                <a:gd name="connsiteY2" fmla="*/ 19593 h 174981"/>
                <a:gd name="connsiteX3" fmla="*/ 16346 w 84972"/>
                <a:gd name="connsiteY3" fmla="*/ 155134 h 174981"/>
                <a:gd name="connsiteX4" fmla="*/ 17203 w 84972"/>
                <a:gd name="connsiteY4" fmla="*/ 157229 h 174981"/>
                <a:gd name="connsiteX5" fmla="*/ 19394 w 84972"/>
                <a:gd name="connsiteY5" fmla="*/ 158087 h 174981"/>
                <a:gd name="connsiteX6" fmla="*/ 65019 w 84972"/>
                <a:gd name="connsiteY6" fmla="*/ 158087 h 174981"/>
                <a:gd name="connsiteX7" fmla="*/ 67972 w 84972"/>
                <a:gd name="connsiteY7" fmla="*/ 155134 h 174981"/>
                <a:gd name="connsiteX8" fmla="*/ 67972 w 84972"/>
                <a:gd name="connsiteY8" fmla="*/ 19498 h 174981"/>
                <a:gd name="connsiteX9" fmla="*/ 65114 w 84972"/>
                <a:gd name="connsiteY9" fmla="*/ 16450 h 174981"/>
                <a:gd name="connsiteX10" fmla="*/ 65019 w 84972"/>
                <a:gd name="connsiteY10" fmla="*/ 16450 h 174981"/>
                <a:gd name="connsiteX11" fmla="*/ 65019 w 84972"/>
                <a:gd name="connsiteY11" fmla="*/ 174755 h 174981"/>
                <a:gd name="connsiteX12" fmla="*/ 19394 w 84972"/>
                <a:gd name="connsiteY12" fmla="*/ 174755 h 174981"/>
                <a:gd name="connsiteX13" fmla="*/ -323 w 84972"/>
                <a:gd name="connsiteY13" fmla="*/ 155134 h 174981"/>
                <a:gd name="connsiteX14" fmla="*/ -323 w 84972"/>
                <a:gd name="connsiteY14" fmla="*/ 19498 h 174981"/>
                <a:gd name="connsiteX15" fmla="*/ 19394 w 84972"/>
                <a:gd name="connsiteY15" fmla="*/ -219 h 174981"/>
                <a:gd name="connsiteX16" fmla="*/ 65019 w 84972"/>
                <a:gd name="connsiteY16" fmla="*/ -219 h 174981"/>
                <a:gd name="connsiteX17" fmla="*/ 84640 w 84972"/>
                <a:gd name="connsiteY17" fmla="*/ 19498 h 174981"/>
                <a:gd name="connsiteX18" fmla="*/ 84640 w 84972"/>
                <a:gd name="connsiteY18" fmla="*/ 155134 h 174981"/>
                <a:gd name="connsiteX19" fmla="*/ 66181 w 84972"/>
                <a:gd name="connsiteY19" fmla="*/ 174755 h 174981"/>
                <a:gd name="connsiteX20" fmla="*/ 65019 w 84972"/>
                <a:gd name="connsiteY20" fmla="*/ 174755 h 174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4972" h="174981">
                  <a:moveTo>
                    <a:pt x="19394" y="16450"/>
                  </a:moveTo>
                  <a:cubicBezTo>
                    <a:pt x="17708" y="16450"/>
                    <a:pt x="16346" y="17812"/>
                    <a:pt x="16346" y="19498"/>
                  </a:cubicBezTo>
                  <a:cubicBezTo>
                    <a:pt x="16346" y="19526"/>
                    <a:pt x="16346" y="19565"/>
                    <a:pt x="16346" y="19593"/>
                  </a:cubicBezTo>
                  <a:lnTo>
                    <a:pt x="16346" y="155134"/>
                  </a:lnTo>
                  <a:cubicBezTo>
                    <a:pt x="16346" y="155915"/>
                    <a:pt x="16651" y="156677"/>
                    <a:pt x="17203" y="157229"/>
                  </a:cubicBezTo>
                  <a:cubicBezTo>
                    <a:pt x="17794" y="157792"/>
                    <a:pt x="18585" y="158096"/>
                    <a:pt x="19394" y="158087"/>
                  </a:cubicBezTo>
                  <a:lnTo>
                    <a:pt x="65019" y="158087"/>
                  </a:lnTo>
                  <a:cubicBezTo>
                    <a:pt x="66648" y="158087"/>
                    <a:pt x="67972" y="156763"/>
                    <a:pt x="67972" y="155134"/>
                  </a:cubicBezTo>
                  <a:lnTo>
                    <a:pt x="67972" y="19498"/>
                  </a:lnTo>
                  <a:cubicBezTo>
                    <a:pt x="68029" y="17869"/>
                    <a:pt x="66743" y="16507"/>
                    <a:pt x="65114" y="16450"/>
                  </a:cubicBezTo>
                  <a:cubicBezTo>
                    <a:pt x="65086" y="16450"/>
                    <a:pt x="65047" y="16450"/>
                    <a:pt x="65019" y="16450"/>
                  </a:cubicBezTo>
                  <a:close/>
                  <a:moveTo>
                    <a:pt x="65019" y="174755"/>
                  </a:moveTo>
                  <a:lnTo>
                    <a:pt x="19394" y="174755"/>
                  </a:lnTo>
                  <a:cubicBezTo>
                    <a:pt x="8545" y="174755"/>
                    <a:pt x="-265" y="165983"/>
                    <a:pt x="-323" y="155134"/>
                  </a:cubicBezTo>
                  <a:lnTo>
                    <a:pt x="-323" y="19498"/>
                  </a:lnTo>
                  <a:cubicBezTo>
                    <a:pt x="-323" y="8611"/>
                    <a:pt x="8507" y="-219"/>
                    <a:pt x="19394" y="-219"/>
                  </a:cubicBezTo>
                  <a:lnTo>
                    <a:pt x="65019" y="-219"/>
                  </a:lnTo>
                  <a:cubicBezTo>
                    <a:pt x="75868" y="-171"/>
                    <a:pt x="84640" y="8649"/>
                    <a:pt x="84640" y="19498"/>
                  </a:cubicBezTo>
                  <a:lnTo>
                    <a:pt x="84640" y="155134"/>
                  </a:lnTo>
                  <a:cubicBezTo>
                    <a:pt x="84964" y="165650"/>
                    <a:pt x="76696" y="174432"/>
                    <a:pt x="66181" y="174755"/>
                  </a:cubicBezTo>
                  <a:cubicBezTo>
                    <a:pt x="65790" y="174765"/>
                    <a:pt x="65409" y="174765"/>
                    <a:pt x="65019" y="17475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7" name="Grafik 5">
              <a:extLst>
                <a:ext uri="{FF2B5EF4-FFF2-40B4-BE49-F238E27FC236}">
                  <a16:creationId xmlns:a16="http://schemas.microsoft.com/office/drawing/2014/main" id="{25599C12-B10B-4E3C-AA6B-763117C5D641}"/>
                </a:ext>
              </a:extLst>
            </p:cNvPr>
            <p:cNvSpPr/>
            <p:nvPr/>
          </p:nvSpPr>
          <p:spPr>
            <a:xfrm>
              <a:off x="5401381" y="5782098"/>
              <a:ext cx="49244" cy="142901"/>
            </a:xfrm>
            <a:custGeom>
              <a:avLst/>
              <a:gdLst>
                <a:gd name="connsiteX0" fmla="*/ 16346 w 49244"/>
                <a:gd name="connsiteY0" fmla="*/ 23601 h 142901"/>
                <a:gd name="connsiteX1" fmla="*/ 16346 w 49244"/>
                <a:gd name="connsiteY1" fmla="*/ 118851 h 142901"/>
                <a:gd name="connsiteX2" fmla="*/ 32253 w 49244"/>
                <a:gd name="connsiteY2" fmla="*/ 108849 h 142901"/>
                <a:gd name="connsiteX3" fmla="*/ 32253 w 49244"/>
                <a:gd name="connsiteY3" fmla="*/ 33412 h 142901"/>
                <a:gd name="connsiteX4" fmla="*/ 8060 w 49244"/>
                <a:gd name="connsiteY4" fmla="*/ 142663 h 142901"/>
                <a:gd name="connsiteX5" fmla="*/ 4059 w 49244"/>
                <a:gd name="connsiteY5" fmla="*/ 141616 h 142901"/>
                <a:gd name="connsiteX6" fmla="*/ -322 w 49244"/>
                <a:gd name="connsiteY6" fmla="*/ 134281 h 142901"/>
                <a:gd name="connsiteX7" fmla="*/ -322 w 49244"/>
                <a:gd name="connsiteY7" fmla="*/ 8361 h 142901"/>
                <a:gd name="connsiteX8" fmla="*/ 3964 w 49244"/>
                <a:gd name="connsiteY8" fmla="*/ 931 h 142901"/>
                <a:gd name="connsiteX9" fmla="*/ 12537 w 49244"/>
                <a:gd name="connsiteY9" fmla="*/ 931 h 142901"/>
                <a:gd name="connsiteX10" fmla="*/ 45112 w 49244"/>
                <a:gd name="connsiteY10" fmla="*/ 21696 h 142901"/>
                <a:gd name="connsiteX11" fmla="*/ 48922 w 49244"/>
                <a:gd name="connsiteY11" fmla="*/ 28649 h 142901"/>
                <a:gd name="connsiteX12" fmla="*/ 48922 w 49244"/>
                <a:gd name="connsiteY12" fmla="*/ 113326 h 142901"/>
                <a:gd name="connsiteX13" fmla="*/ 45112 w 49244"/>
                <a:gd name="connsiteY13" fmla="*/ 120280 h 142901"/>
                <a:gd name="connsiteX14" fmla="*/ 12537 w 49244"/>
                <a:gd name="connsiteY14" fmla="*/ 141711 h 142901"/>
                <a:gd name="connsiteX15" fmla="*/ 8060 w 49244"/>
                <a:gd name="connsiteY15" fmla="*/ 142663 h 14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244" h="142901">
                  <a:moveTo>
                    <a:pt x="16346" y="23601"/>
                  </a:moveTo>
                  <a:lnTo>
                    <a:pt x="16346" y="118851"/>
                  </a:lnTo>
                  <a:lnTo>
                    <a:pt x="32253" y="108849"/>
                  </a:lnTo>
                  <a:lnTo>
                    <a:pt x="32253" y="33412"/>
                  </a:lnTo>
                  <a:close/>
                  <a:moveTo>
                    <a:pt x="8060" y="142663"/>
                  </a:moveTo>
                  <a:cubicBezTo>
                    <a:pt x="6660" y="142663"/>
                    <a:pt x="5278" y="142302"/>
                    <a:pt x="4059" y="141616"/>
                  </a:cubicBezTo>
                  <a:cubicBezTo>
                    <a:pt x="1335" y="140187"/>
                    <a:pt x="-351" y="137358"/>
                    <a:pt x="-322" y="134281"/>
                  </a:cubicBezTo>
                  <a:lnTo>
                    <a:pt x="-322" y="8361"/>
                  </a:lnTo>
                  <a:cubicBezTo>
                    <a:pt x="-341" y="5294"/>
                    <a:pt x="1297" y="2446"/>
                    <a:pt x="3964" y="931"/>
                  </a:cubicBezTo>
                  <a:cubicBezTo>
                    <a:pt x="6612" y="-602"/>
                    <a:pt x="9888" y="-602"/>
                    <a:pt x="12537" y="931"/>
                  </a:cubicBezTo>
                  <a:lnTo>
                    <a:pt x="45112" y="21696"/>
                  </a:lnTo>
                  <a:cubicBezTo>
                    <a:pt x="47484" y="23220"/>
                    <a:pt x="48912" y="25839"/>
                    <a:pt x="48922" y="28649"/>
                  </a:cubicBezTo>
                  <a:lnTo>
                    <a:pt x="48922" y="113326"/>
                  </a:lnTo>
                  <a:cubicBezTo>
                    <a:pt x="48931" y="116146"/>
                    <a:pt x="47493" y="118775"/>
                    <a:pt x="45112" y="120280"/>
                  </a:cubicBezTo>
                  <a:lnTo>
                    <a:pt x="12537" y="141711"/>
                  </a:lnTo>
                  <a:cubicBezTo>
                    <a:pt x="11165" y="142435"/>
                    <a:pt x="9612" y="142768"/>
                    <a:pt x="8060" y="14266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8" name="Grafik 5">
              <a:extLst>
                <a:ext uri="{FF2B5EF4-FFF2-40B4-BE49-F238E27FC236}">
                  <a16:creationId xmlns:a16="http://schemas.microsoft.com/office/drawing/2014/main" id="{168D8941-3365-453E-B6DD-36DE532EF50D}"/>
                </a:ext>
              </a:extLst>
            </p:cNvPr>
            <p:cNvSpPr/>
            <p:nvPr/>
          </p:nvSpPr>
          <p:spPr>
            <a:xfrm>
              <a:off x="4933418" y="5766199"/>
              <a:ext cx="84963" cy="174974"/>
            </a:xfrm>
            <a:custGeom>
              <a:avLst/>
              <a:gdLst>
                <a:gd name="connsiteX0" fmla="*/ 19299 w 84963"/>
                <a:gd name="connsiteY0" fmla="*/ 16450 h 174974"/>
                <a:gd name="connsiteX1" fmla="*/ 16346 w 84963"/>
                <a:gd name="connsiteY1" fmla="*/ 19593 h 174974"/>
                <a:gd name="connsiteX2" fmla="*/ 16346 w 84963"/>
                <a:gd name="connsiteY2" fmla="*/ 155134 h 174974"/>
                <a:gd name="connsiteX3" fmla="*/ 19299 w 84963"/>
                <a:gd name="connsiteY3" fmla="*/ 158087 h 174974"/>
                <a:gd name="connsiteX4" fmla="*/ 64924 w 84963"/>
                <a:gd name="connsiteY4" fmla="*/ 158087 h 174974"/>
                <a:gd name="connsiteX5" fmla="*/ 67019 w 84963"/>
                <a:gd name="connsiteY5" fmla="*/ 157229 h 174974"/>
                <a:gd name="connsiteX6" fmla="*/ 67972 w 84963"/>
                <a:gd name="connsiteY6" fmla="*/ 155134 h 174974"/>
                <a:gd name="connsiteX7" fmla="*/ 67972 w 84963"/>
                <a:gd name="connsiteY7" fmla="*/ 19498 h 174974"/>
                <a:gd name="connsiteX8" fmla="*/ 64924 w 84963"/>
                <a:gd name="connsiteY8" fmla="*/ 16450 h 174974"/>
                <a:gd name="connsiteX9" fmla="*/ 64924 w 84963"/>
                <a:gd name="connsiteY9" fmla="*/ 174755 h 174974"/>
                <a:gd name="connsiteX10" fmla="*/ 19299 w 84963"/>
                <a:gd name="connsiteY10" fmla="*/ 174755 h 174974"/>
                <a:gd name="connsiteX11" fmla="*/ 5392 w 84963"/>
                <a:gd name="connsiteY11" fmla="*/ 169041 h 174974"/>
                <a:gd name="connsiteX12" fmla="*/ -323 w 84963"/>
                <a:gd name="connsiteY12" fmla="*/ 155134 h 174974"/>
                <a:gd name="connsiteX13" fmla="*/ -323 w 84963"/>
                <a:gd name="connsiteY13" fmla="*/ 19498 h 174974"/>
                <a:gd name="connsiteX14" fmla="*/ 19299 w 84963"/>
                <a:gd name="connsiteY14" fmla="*/ -219 h 174974"/>
                <a:gd name="connsiteX15" fmla="*/ 64924 w 84963"/>
                <a:gd name="connsiteY15" fmla="*/ -219 h 174974"/>
                <a:gd name="connsiteX16" fmla="*/ 84641 w 84963"/>
                <a:gd name="connsiteY16" fmla="*/ 19498 h 174974"/>
                <a:gd name="connsiteX17" fmla="*/ 84641 w 84963"/>
                <a:gd name="connsiteY17" fmla="*/ 155134 h 174974"/>
                <a:gd name="connsiteX18" fmla="*/ 64924 w 84963"/>
                <a:gd name="connsiteY18" fmla="*/ 174755 h 17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4963" h="174974">
                  <a:moveTo>
                    <a:pt x="19299" y="16450"/>
                  </a:moveTo>
                  <a:cubicBezTo>
                    <a:pt x="17641" y="16555"/>
                    <a:pt x="16346" y="17926"/>
                    <a:pt x="16346" y="19593"/>
                  </a:cubicBezTo>
                  <a:lnTo>
                    <a:pt x="16346" y="155134"/>
                  </a:lnTo>
                  <a:cubicBezTo>
                    <a:pt x="16346" y="156763"/>
                    <a:pt x="17670" y="158087"/>
                    <a:pt x="19299" y="158087"/>
                  </a:cubicBezTo>
                  <a:lnTo>
                    <a:pt x="64924" y="158087"/>
                  </a:lnTo>
                  <a:cubicBezTo>
                    <a:pt x="65705" y="158087"/>
                    <a:pt x="66467" y="157782"/>
                    <a:pt x="67019" y="157229"/>
                  </a:cubicBezTo>
                  <a:cubicBezTo>
                    <a:pt x="67600" y="156687"/>
                    <a:pt x="67943" y="155934"/>
                    <a:pt x="67972" y="155134"/>
                  </a:cubicBezTo>
                  <a:lnTo>
                    <a:pt x="67972" y="19498"/>
                  </a:lnTo>
                  <a:cubicBezTo>
                    <a:pt x="67972" y="17812"/>
                    <a:pt x="66610" y="16450"/>
                    <a:pt x="64924" y="16450"/>
                  </a:cubicBezTo>
                  <a:close/>
                  <a:moveTo>
                    <a:pt x="64924" y="174755"/>
                  </a:moveTo>
                  <a:lnTo>
                    <a:pt x="19299" y="174755"/>
                  </a:lnTo>
                  <a:cubicBezTo>
                    <a:pt x="14098" y="174746"/>
                    <a:pt x="9107" y="172689"/>
                    <a:pt x="5392" y="169041"/>
                  </a:cubicBezTo>
                  <a:cubicBezTo>
                    <a:pt x="1725" y="165345"/>
                    <a:pt x="-332" y="160344"/>
                    <a:pt x="-323" y="155134"/>
                  </a:cubicBezTo>
                  <a:lnTo>
                    <a:pt x="-323" y="19498"/>
                  </a:lnTo>
                  <a:cubicBezTo>
                    <a:pt x="-323" y="8649"/>
                    <a:pt x="8450" y="-162"/>
                    <a:pt x="19299" y="-219"/>
                  </a:cubicBezTo>
                  <a:lnTo>
                    <a:pt x="64924" y="-219"/>
                  </a:lnTo>
                  <a:cubicBezTo>
                    <a:pt x="75792" y="-171"/>
                    <a:pt x="84593" y="8630"/>
                    <a:pt x="84641" y="19498"/>
                  </a:cubicBezTo>
                  <a:lnTo>
                    <a:pt x="84641" y="155134"/>
                  </a:lnTo>
                  <a:cubicBezTo>
                    <a:pt x="84593" y="165983"/>
                    <a:pt x="75773" y="174755"/>
                    <a:pt x="64924" y="17475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29" name="Grafik 5">
              <a:extLst>
                <a:ext uri="{FF2B5EF4-FFF2-40B4-BE49-F238E27FC236}">
                  <a16:creationId xmlns:a16="http://schemas.microsoft.com/office/drawing/2014/main" id="{E5714C7D-1EC3-45CC-BCB3-A4ED1D2BF0DA}"/>
                </a:ext>
              </a:extLst>
            </p:cNvPr>
            <p:cNvSpPr/>
            <p:nvPr/>
          </p:nvSpPr>
          <p:spPr>
            <a:xfrm>
              <a:off x="4900842" y="5782684"/>
              <a:ext cx="49244" cy="142325"/>
            </a:xfrm>
            <a:custGeom>
              <a:avLst/>
              <a:gdLst>
                <a:gd name="connsiteX0" fmla="*/ 16346 w 49244"/>
                <a:gd name="connsiteY0" fmla="*/ 108549 h 142325"/>
                <a:gd name="connsiteX1" fmla="*/ 32253 w 49244"/>
                <a:gd name="connsiteY1" fmla="*/ 118551 h 142325"/>
                <a:gd name="connsiteX2" fmla="*/ 32253 w 49244"/>
                <a:gd name="connsiteY2" fmla="*/ 23301 h 142325"/>
                <a:gd name="connsiteX3" fmla="*/ 16346 w 49244"/>
                <a:gd name="connsiteY3" fmla="*/ 33397 h 142325"/>
                <a:gd name="connsiteX4" fmla="*/ 40540 w 49244"/>
                <a:gd name="connsiteY4" fmla="*/ 142078 h 142325"/>
                <a:gd name="connsiteX5" fmla="*/ 36063 w 49244"/>
                <a:gd name="connsiteY5" fmla="*/ 140744 h 142325"/>
                <a:gd name="connsiteX6" fmla="*/ 3488 w 49244"/>
                <a:gd name="connsiteY6" fmla="*/ 120170 h 142325"/>
                <a:gd name="connsiteX7" fmla="*/ -323 w 49244"/>
                <a:gd name="connsiteY7" fmla="*/ 113217 h 142325"/>
                <a:gd name="connsiteX8" fmla="*/ -323 w 49244"/>
                <a:gd name="connsiteY8" fmla="*/ 28539 h 142325"/>
                <a:gd name="connsiteX9" fmla="*/ 3488 w 49244"/>
                <a:gd name="connsiteY9" fmla="*/ 21586 h 142325"/>
                <a:gd name="connsiteX10" fmla="*/ 36063 w 49244"/>
                <a:gd name="connsiteY10" fmla="*/ 917 h 142325"/>
                <a:gd name="connsiteX11" fmla="*/ 44540 w 49244"/>
                <a:gd name="connsiteY11" fmla="*/ 917 h 142325"/>
                <a:gd name="connsiteX12" fmla="*/ 48922 w 49244"/>
                <a:gd name="connsiteY12" fmla="*/ 8251 h 142325"/>
                <a:gd name="connsiteX13" fmla="*/ 48922 w 49244"/>
                <a:gd name="connsiteY13" fmla="*/ 134077 h 142325"/>
                <a:gd name="connsiteX14" fmla="*/ 44540 w 49244"/>
                <a:gd name="connsiteY14" fmla="*/ 141411 h 142325"/>
                <a:gd name="connsiteX15" fmla="*/ 40540 w 49244"/>
                <a:gd name="connsiteY15" fmla="*/ 142078 h 14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244" h="142325">
                  <a:moveTo>
                    <a:pt x="16346" y="108549"/>
                  </a:moveTo>
                  <a:lnTo>
                    <a:pt x="32253" y="118551"/>
                  </a:lnTo>
                  <a:lnTo>
                    <a:pt x="32253" y="23301"/>
                  </a:lnTo>
                  <a:lnTo>
                    <a:pt x="16346" y="33397"/>
                  </a:lnTo>
                  <a:close/>
                  <a:moveTo>
                    <a:pt x="40540" y="142078"/>
                  </a:moveTo>
                  <a:cubicBezTo>
                    <a:pt x="38949" y="142078"/>
                    <a:pt x="37397" y="141611"/>
                    <a:pt x="36063" y="140744"/>
                  </a:cubicBezTo>
                  <a:lnTo>
                    <a:pt x="3488" y="120170"/>
                  </a:lnTo>
                  <a:cubicBezTo>
                    <a:pt x="1116" y="118646"/>
                    <a:pt x="-313" y="116027"/>
                    <a:pt x="-323" y="113217"/>
                  </a:cubicBezTo>
                  <a:lnTo>
                    <a:pt x="-323" y="28539"/>
                  </a:lnTo>
                  <a:cubicBezTo>
                    <a:pt x="-332" y="25720"/>
                    <a:pt x="1106" y="23091"/>
                    <a:pt x="3488" y="21586"/>
                  </a:cubicBezTo>
                  <a:lnTo>
                    <a:pt x="36063" y="917"/>
                  </a:lnTo>
                  <a:cubicBezTo>
                    <a:pt x="38682" y="-597"/>
                    <a:pt x="41921" y="-597"/>
                    <a:pt x="44540" y="917"/>
                  </a:cubicBezTo>
                  <a:cubicBezTo>
                    <a:pt x="47245" y="2365"/>
                    <a:pt x="48931" y="5184"/>
                    <a:pt x="48922" y="8251"/>
                  </a:cubicBezTo>
                  <a:lnTo>
                    <a:pt x="48922" y="134077"/>
                  </a:lnTo>
                  <a:cubicBezTo>
                    <a:pt x="48912" y="137134"/>
                    <a:pt x="47226" y="139954"/>
                    <a:pt x="44540" y="141411"/>
                  </a:cubicBezTo>
                  <a:cubicBezTo>
                    <a:pt x="43283" y="141963"/>
                    <a:pt x="41911" y="142192"/>
                    <a:pt x="40540" y="14207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0" name="Grafik 5">
              <a:extLst>
                <a:ext uri="{FF2B5EF4-FFF2-40B4-BE49-F238E27FC236}">
                  <a16:creationId xmlns:a16="http://schemas.microsoft.com/office/drawing/2014/main" id="{A7B87ABC-C679-47FA-A09D-A29312C9C30A}"/>
                </a:ext>
              </a:extLst>
            </p:cNvPr>
            <p:cNvSpPr/>
            <p:nvPr/>
          </p:nvSpPr>
          <p:spPr>
            <a:xfrm>
              <a:off x="5005886" y="5611989"/>
              <a:ext cx="339694" cy="171069"/>
            </a:xfrm>
            <a:custGeom>
              <a:avLst/>
              <a:gdLst>
                <a:gd name="connsiteX0" fmla="*/ 19601 w 339694"/>
                <a:gd name="connsiteY0" fmla="*/ 85125 h 171069"/>
                <a:gd name="connsiteX1" fmla="*/ 169525 w 339694"/>
                <a:gd name="connsiteY1" fmla="*/ 153991 h 171069"/>
                <a:gd name="connsiteX2" fmla="*/ 319448 w 339694"/>
                <a:gd name="connsiteY2" fmla="*/ 85125 h 171069"/>
                <a:gd name="connsiteX3" fmla="*/ 169525 w 339694"/>
                <a:gd name="connsiteY3" fmla="*/ 16259 h 171069"/>
                <a:gd name="connsiteX4" fmla="*/ 20173 w 339694"/>
                <a:gd name="connsiteY4" fmla="*/ 85125 h 171069"/>
                <a:gd name="connsiteX5" fmla="*/ 169525 w 339694"/>
                <a:gd name="connsiteY5" fmla="*/ 170850 h 171069"/>
                <a:gd name="connsiteX6" fmla="*/ 1885 w 339694"/>
                <a:gd name="connsiteY6" fmla="*/ 91031 h 171069"/>
                <a:gd name="connsiteX7" fmla="*/ 1885 w 339694"/>
                <a:gd name="connsiteY7" fmla="*/ 79696 h 171069"/>
                <a:gd name="connsiteX8" fmla="*/ 169525 w 339694"/>
                <a:gd name="connsiteY8" fmla="*/ -219 h 171069"/>
                <a:gd name="connsiteX9" fmla="*/ 337165 w 339694"/>
                <a:gd name="connsiteY9" fmla="*/ 79696 h 171069"/>
                <a:gd name="connsiteX10" fmla="*/ 337165 w 339694"/>
                <a:gd name="connsiteY10" fmla="*/ 91031 h 171069"/>
                <a:gd name="connsiteX11" fmla="*/ 169525 w 339694"/>
                <a:gd name="connsiteY11" fmla="*/ 170660 h 171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9694" h="171069">
                  <a:moveTo>
                    <a:pt x="19601" y="85125"/>
                  </a:moveTo>
                  <a:cubicBezTo>
                    <a:pt x="38080" y="102556"/>
                    <a:pt x="98659" y="153991"/>
                    <a:pt x="169525" y="153991"/>
                  </a:cubicBezTo>
                  <a:cubicBezTo>
                    <a:pt x="240391" y="153991"/>
                    <a:pt x="301065" y="102270"/>
                    <a:pt x="319448" y="85125"/>
                  </a:cubicBezTo>
                  <a:cubicBezTo>
                    <a:pt x="300875" y="67694"/>
                    <a:pt x="240200" y="16259"/>
                    <a:pt x="169525" y="16259"/>
                  </a:cubicBezTo>
                  <a:cubicBezTo>
                    <a:pt x="98849" y="16259"/>
                    <a:pt x="38651" y="67313"/>
                    <a:pt x="20173" y="85125"/>
                  </a:cubicBezTo>
                  <a:close/>
                  <a:moveTo>
                    <a:pt x="169525" y="170850"/>
                  </a:moveTo>
                  <a:cubicBezTo>
                    <a:pt x="77894" y="170850"/>
                    <a:pt x="5028" y="94650"/>
                    <a:pt x="1885" y="91031"/>
                  </a:cubicBezTo>
                  <a:cubicBezTo>
                    <a:pt x="-1058" y="87821"/>
                    <a:pt x="-1058" y="82906"/>
                    <a:pt x="1885" y="79696"/>
                  </a:cubicBezTo>
                  <a:cubicBezTo>
                    <a:pt x="5028" y="76362"/>
                    <a:pt x="78085" y="-219"/>
                    <a:pt x="169525" y="-219"/>
                  </a:cubicBezTo>
                  <a:cubicBezTo>
                    <a:pt x="260965" y="-219"/>
                    <a:pt x="334117" y="75981"/>
                    <a:pt x="337165" y="79696"/>
                  </a:cubicBezTo>
                  <a:cubicBezTo>
                    <a:pt x="340108" y="82906"/>
                    <a:pt x="340108" y="87821"/>
                    <a:pt x="337165" y="91031"/>
                  </a:cubicBezTo>
                  <a:cubicBezTo>
                    <a:pt x="334402" y="94079"/>
                    <a:pt x="261536" y="170660"/>
                    <a:pt x="169525" y="17066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1" name="Grafik 5">
              <a:extLst>
                <a:ext uri="{FF2B5EF4-FFF2-40B4-BE49-F238E27FC236}">
                  <a16:creationId xmlns:a16="http://schemas.microsoft.com/office/drawing/2014/main" id="{3E8E88B0-4122-4A01-95B9-210DE0046623}"/>
                </a:ext>
              </a:extLst>
            </p:cNvPr>
            <p:cNvSpPr/>
            <p:nvPr/>
          </p:nvSpPr>
          <p:spPr>
            <a:xfrm>
              <a:off x="5090771" y="5612084"/>
              <a:ext cx="169926" cy="170211"/>
            </a:xfrm>
            <a:custGeom>
              <a:avLst/>
              <a:gdLst>
                <a:gd name="connsiteX0" fmla="*/ 84640 w 169926"/>
                <a:gd name="connsiteY0" fmla="*/ 16450 h 170211"/>
                <a:gd name="connsiteX1" fmla="*/ 16346 w 169926"/>
                <a:gd name="connsiteY1" fmla="*/ 84744 h 170211"/>
                <a:gd name="connsiteX2" fmla="*/ 84640 w 169926"/>
                <a:gd name="connsiteY2" fmla="*/ 153038 h 170211"/>
                <a:gd name="connsiteX3" fmla="*/ 152935 w 169926"/>
                <a:gd name="connsiteY3" fmla="*/ 84744 h 170211"/>
                <a:gd name="connsiteX4" fmla="*/ 84640 w 169926"/>
                <a:gd name="connsiteY4" fmla="*/ 16450 h 170211"/>
                <a:gd name="connsiteX5" fmla="*/ 84640 w 169926"/>
                <a:gd name="connsiteY5" fmla="*/ 169707 h 170211"/>
                <a:gd name="connsiteX6" fmla="*/ -323 w 169926"/>
                <a:gd name="connsiteY6" fmla="*/ 84744 h 170211"/>
                <a:gd name="connsiteX7" fmla="*/ 84640 w 169926"/>
                <a:gd name="connsiteY7" fmla="*/ -219 h 170211"/>
                <a:gd name="connsiteX8" fmla="*/ 169603 w 169926"/>
                <a:gd name="connsiteY8" fmla="*/ 84744 h 170211"/>
                <a:gd name="connsiteX9" fmla="*/ 84926 w 169926"/>
                <a:gd name="connsiteY9" fmla="*/ 169993 h 170211"/>
                <a:gd name="connsiteX10" fmla="*/ 84640 w 169926"/>
                <a:gd name="connsiteY10" fmla="*/ 169993 h 17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926" h="170211">
                  <a:moveTo>
                    <a:pt x="84640" y="16450"/>
                  </a:moveTo>
                  <a:cubicBezTo>
                    <a:pt x="46922" y="16450"/>
                    <a:pt x="16346" y="47025"/>
                    <a:pt x="16346" y="84744"/>
                  </a:cubicBezTo>
                  <a:cubicBezTo>
                    <a:pt x="16346" y="122463"/>
                    <a:pt x="46922" y="153038"/>
                    <a:pt x="84640" y="153038"/>
                  </a:cubicBezTo>
                  <a:cubicBezTo>
                    <a:pt x="122359" y="153038"/>
                    <a:pt x="152935" y="122463"/>
                    <a:pt x="152935" y="84744"/>
                  </a:cubicBezTo>
                  <a:cubicBezTo>
                    <a:pt x="152935" y="47025"/>
                    <a:pt x="122359" y="16450"/>
                    <a:pt x="84640" y="16450"/>
                  </a:cubicBezTo>
                  <a:close/>
                  <a:moveTo>
                    <a:pt x="84640" y="169707"/>
                  </a:moveTo>
                  <a:cubicBezTo>
                    <a:pt x="37720" y="169707"/>
                    <a:pt x="-323" y="131664"/>
                    <a:pt x="-323" y="84744"/>
                  </a:cubicBezTo>
                  <a:cubicBezTo>
                    <a:pt x="-323" y="37824"/>
                    <a:pt x="37720" y="-219"/>
                    <a:pt x="84640" y="-219"/>
                  </a:cubicBezTo>
                  <a:cubicBezTo>
                    <a:pt x="131561" y="-219"/>
                    <a:pt x="169603" y="37824"/>
                    <a:pt x="169603" y="84744"/>
                  </a:cubicBezTo>
                  <a:cubicBezTo>
                    <a:pt x="169766" y="131664"/>
                    <a:pt x="131846" y="169831"/>
                    <a:pt x="84926" y="169993"/>
                  </a:cubicBezTo>
                  <a:cubicBezTo>
                    <a:pt x="84831" y="169993"/>
                    <a:pt x="84736" y="169993"/>
                    <a:pt x="84640" y="16999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2" name="Grafik 5">
              <a:extLst>
                <a:ext uri="{FF2B5EF4-FFF2-40B4-BE49-F238E27FC236}">
                  <a16:creationId xmlns:a16="http://schemas.microsoft.com/office/drawing/2014/main" id="{B573E73A-62A5-416E-97FE-20D6E3201292}"/>
                </a:ext>
              </a:extLst>
            </p:cNvPr>
            <p:cNvSpPr/>
            <p:nvPr/>
          </p:nvSpPr>
          <p:spPr>
            <a:xfrm>
              <a:off x="5131724" y="5648001"/>
              <a:ext cx="87538" cy="98671"/>
            </a:xfrm>
            <a:custGeom>
              <a:avLst/>
              <a:gdLst>
                <a:gd name="connsiteX0" fmla="*/ 16636 w 87538"/>
                <a:gd name="connsiteY0" fmla="*/ 65116 h 98671"/>
                <a:gd name="connsiteX1" fmla="*/ 43687 w 87538"/>
                <a:gd name="connsiteY1" fmla="*/ 80546 h 98671"/>
                <a:gd name="connsiteX2" fmla="*/ 71119 w 87538"/>
                <a:gd name="connsiteY2" fmla="*/ 64639 h 98671"/>
                <a:gd name="connsiteX3" fmla="*/ 71119 w 87538"/>
                <a:gd name="connsiteY3" fmla="*/ 33397 h 98671"/>
                <a:gd name="connsiteX4" fmla="*/ 43687 w 87538"/>
                <a:gd name="connsiteY4" fmla="*/ 17776 h 98671"/>
                <a:gd name="connsiteX5" fmla="*/ 16636 w 87538"/>
                <a:gd name="connsiteY5" fmla="*/ 33397 h 98671"/>
                <a:gd name="connsiteX6" fmla="*/ 43687 w 87538"/>
                <a:gd name="connsiteY6" fmla="*/ 98453 h 98671"/>
                <a:gd name="connsiteX7" fmla="*/ 39496 w 87538"/>
                <a:gd name="connsiteY7" fmla="*/ 97405 h 98671"/>
                <a:gd name="connsiteX8" fmla="*/ 3777 w 87538"/>
                <a:gd name="connsiteY8" fmla="*/ 76831 h 98671"/>
                <a:gd name="connsiteX9" fmla="*/ -319 w 87538"/>
                <a:gd name="connsiteY9" fmla="*/ 69592 h 98671"/>
                <a:gd name="connsiteX10" fmla="*/ -319 w 87538"/>
                <a:gd name="connsiteY10" fmla="*/ 28635 h 98671"/>
                <a:gd name="connsiteX11" fmla="*/ 3777 w 87538"/>
                <a:gd name="connsiteY11" fmla="*/ 21396 h 98671"/>
                <a:gd name="connsiteX12" fmla="*/ 39210 w 87538"/>
                <a:gd name="connsiteY12" fmla="*/ 917 h 98671"/>
                <a:gd name="connsiteX13" fmla="*/ 47592 w 87538"/>
                <a:gd name="connsiteY13" fmla="*/ 917 h 98671"/>
                <a:gd name="connsiteX14" fmla="*/ 83025 w 87538"/>
                <a:gd name="connsiteY14" fmla="*/ 21396 h 98671"/>
                <a:gd name="connsiteX15" fmla="*/ 87216 w 87538"/>
                <a:gd name="connsiteY15" fmla="*/ 28635 h 98671"/>
                <a:gd name="connsiteX16" fmla="*/ 87216 w 87538"/>
                <a:gd name="connsiteY16" fmla="*/ 69592 h 98671"/>
                <a:gd name="connsiteX17" fmla="*/ 83025 w 87538"/>
                <a:gd name="connsiteY17" fmla="*/ 76831 h 98671"/>
                <a:gd name="connsiteX18" fmla="*/ 47592 w 87538"/>
                <a:gd name="connsiteY18" fmla="*/ 97405 h 98671"/>
                <a:gd name="connsiteX19" fmla="*/ 43687 w 87538"/>
                <a:gd name="connsiteY19" fmla="*/ 98453 h 9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7538" h="98671">
                  <a:moveTo>
                    <a:pt x="16636" y="65116"/>
                  </a:moveTo>
                  <a:lnTo>
                    <a:pt x="43687" y="80546"/>
                  </a:lnTo>
                  <a:lnTo>
                    <a:pt x="71119" y="64639"/>
                  </a:lnTo>
                  <a:lnTo>
                    <a:pt x="71119" y="33397"/>
                  </a:lnTo>
                  <a:lnTo>
                    <a:pt x="43687" y="17776"/>
                  </a:lnTo>
                  <a:lnTo>
                    <a:pt x="16636" y="33397"/>
                  </a:lnTo>
                  <a:close/>
                  <a:moveTo>
                    <a:pt x="43687" y="98453"/>
                  </a:moveTo>
                  <a:cubicBezTo>
                    <a:pt x="42229" y="98434"/>
                    <a:pt x="40791" y="98072"/>
                    <a:pt x="39496" y="97405"/>
                  </a:cubicBezTo>
                  <a:lnTo>
                    <a:pt x="3777" y="76831"/>
                  </a:lnTo>
                  <a:cubicBezTo>
                    <a:pt x="1167" y="75374"/>
                    <a:pt x="-414" y="72583"/>
                    <a:pt x="-319" y="69592"/>
                  </a:cubicBezTo>
                  <a:lnTo>
                    <a:pt x="-319" y="28635"/>
                  </a:lnTo>
                  <a:cubicBezTo>
                    <a:pt x="-366" y="25653"/>
                    <a:pt x="1196" y="22882"/>
                    <a:pt x="3777" y="21396"/>
                  </a:cubicBezTo>
                  <a:lnTo>
                    <a:pt x="39210" y="917"/>
                  </a:lnTo>
                  <a:cubicBezTo>
                    <a:pt x="41801" y="-598"/>
                    <a:pt x="45001" y="-598"/>
                    <a:pt x="47592" y="917"/>
                  </a:cubicBezTo>
                  <a:lnTo>
                    <a:pt x="83025" y="21396"/>
                  </a:lnTo>
                  <a:cubicBezTo>
                    <a:pt x="85597" y="22901"/>
                    <a:pt x="87187" y="25653"/>
                    <a:pt x="87216" y="28635"/>
                  </a:cubicBezTo>
                  <a:lnTo>
                    <a:pt x="87216" y="69592"/>
                  </a:lnTo>
                  <a:cubicBezTo>
                    <a:pt x="87187" y="72574"/>
                    <a:pt x="85597" y="75326"/>
                    <a:pt x="83025" y="76831"/>
                  </a:cubicBezTo>
                  <a:lnTo>
                    <a:pt x="47592" y="97405"/>
                  </a:lnTo>
                  <a:cubicBezTo>
                    <a:pt x="46382" y="98034"/>
                    <a:pt x="45049" y="98386"/>
                    <a:pt x="43687" y="9845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3" name="Grafik 5">
              <a:extLst>
                <a:ext uri="{FF2B5EF4-FFF2-40B4-BE49-F238E27FC236}">
                  <a16:creationId xmlns:a16="http://schemas.microsoft.com/office/drawing/2014/main" id="{C3418051-B2C8-41C9-A233-04ACDF63AC25}"/>
                </a:ext>
              </a:extLst>
            </p:cNvPr>
            <p:cNvSpPr/>
            <p:nvPr/>
          </p:nvSpPr>
          <p:spPr>
            <a:xfrm>
              <a:off x="5132262" y="5687729"/>
              <a:ext cx="87461" cy="38464"/>
            </a:xfrm>
            <a:custGeom>
              <a:avLst/>
              <a:gdLst>
                <a:gd name="connsiteX0" fmla="*/ 8002 w 87461"/>
                <a:gd name="connsiteY0" fmla="*/ 38246 h 38464"/>
                <a:gd name="connsiteX1" fmla="*/ -322 w 87461"/>
                <a:gd name="connsiteY1" fmla="*/ 29806 h 38464"/>
                <a:gd name="connsiteX2" fmla="*/ 3526 w 87461"/>
                <a:gd name="connsiteY2" fmla="*/ 22815 h 38464"/>
                <a:gd name="connsiteX3" fmla="*/ 39054 w 87461"/>
                <a:gd name="connsiteY3" fmla="*/ 1003 h 38464"/>
                <a:gd name="connsiteX4" fmla="*/ 47817 w 87461"/>
                <a:gd name="connsiteY4" fmla="*/ 1003 h 38464"/>
                <a:gd name="connsiteX5" fmla="*/ 83250 w 87461"/>
                <a:gd name="connsiteY5" fmla="*/ 22815 h 38464"/>
                <a:gd name="connsiteX6" fmla="*/ 85917 w 87461"/>
                <a:gd name="connsiteY6" fmla="*/ 34245 h 38464"/>
                <a:gd name="connsiteX7" fmla="*/ 80773 w 87461"/>
                <a:gd name="connsiteY7" fmla="*/ 37960 h 38464"/>
                <a:gd name="connsiteX8" fmla="*/ 74487 w 87461"/>
                <a:gd name="connsiteY8" fmla="*/ 37007 h 38464"/>
                <a:gd name="connsiteX9" fmla="*/ 43150 w 87461"/>
                <a:gd name="connsiteY9" fmla="*/ 17957 h 38464"/>
                <a:gd name="connsiteX10" fmla="*/ 12289 w 87461"/>
                <a:gd name="connsiteY10" fmla="*/ 37007 h 38464"/>
                <a:gd name="connsiteX11" fmla="*/ 8002 w 87461"/>
                <a:gd name="connsiteY11" fmla="*/ 38246 h 38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61" h="38464">
                  <a:moveTo>
                    <a:pt x="8002" y="38246"/>
                  </a:moveTo>
                  <a:cubicBezTo>
                    <a:pt x="3373" y="38217"/>
                    <a:pt x="-351" y="34435"/>
                    <a:pt x="-322" y="29806"/>
                  </a:cubicBezTo>
                  <a:cubicBezTo>
                    <a:pt x="-304" y="26977"/>
                    <a:pt x="1144" y="24349"/>
                    <a:pt x="3526" y="22815"/>
                  </a:cubicBezTo>
                  <a:lnTo>
                    <a:pt x="39054" y="1003"/>
                  </a:lnTo>
                  <a:cubicBezTo>
                    <a:pt x="41749" y="-626"/>
                    <a:pt x="45121" y="-626"/>
                    <a:pt x="47817" y="1003"/>
                  </a:cubicBezTo>
                  <a:lnTo>
                    <a:pt x="83250" y="22815"/>
                  </a:lnTo>
                  <a:cubicBezTo>
                    <a:pt x="87107" y="25263"/>
                    <a:pt x="88288" y="30340"/>
                    <a:pt x="85917" y="34245"/>
                  </a:cubicBezTo>
                  <a:cubicBezTo>
                    <a:pt x="84793" y="36150"/>
                    <a:pt x="82936" y="37493"/>
                    <a:pt x="80773" y="37960"/>
                  </a:cubicBezTo>
                  <a:cubicBezTo>
                    <a:pt x="78640" y="38512"/>
                    <a:pt x="76363" y="38169"/>
                    <a:pt x="74487" y="37007"/>
                  </a:cubicBezTo>
                  <a:lnTo>
                    <a:pt x="43150" y="17957"/>
                  </a:lnTo>
                  <a:lnTo>
                    <a:pt x="12289" y="37007"/>
                  </a:lnTo>
                  <a:cubicBezTo>
                    <a:pt x="11003" y="37807"/>
                    <a:pt x="9517" y="38236"/>
                    <a:pt x="8002" y="38246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4" name="Grafik 5">
              <a:extLst>
                <a:ext uri="{FF2B5EF4-FFF2-40B4-BE49-F238E27FC236}">
                  <a16:creationId xmlns:a16="http://schemas.microsoft.com/office/drawing/2014/main" id="{28AB3959-A4FD-4E31-9002-6AB4910498D3}"/>
                </a:ext>
              </a:extLst>
            </p:cNvPr>
            <p:cNvSpPr/>
            <p:nvPr/>
          </p:nvSpPr>
          <p:spPr>
            <a:xfrm>
              <a:off x="5167352" y="5648089"/>
              <a:ext cx="16683" cy="56864"/>
            </a:xfrm>
            <a:custGeom>
              <a:avLst/>
              <a:gdLst>
                <a:gd name="connsiteX0" fmla="*/ 8059 w 16683"/>
                <a:gd name="connsiteY0" fmla="*/ 56645 h 56864"/>
                <a:gd name="connsiteX1" fmla="*/ -323 w 16683"/>
                <a:gd name="connsiteY1" fmla="*/ 48359 h 56864"/>
                <a:gd name="connsiteX2" fmla="*/ -323 w 16683"/>
                <a:gd name="connsiteY2" fmla="*/ 8068 h 56864"/>
                <a:gd name="connsiteX3" fmla="*/ 8059 w 16683"/>
                <a:gd name="connsiteY3" fmla="*/ -219 h 56864"/>
                <a:gd name="connsiteX4" fmla="*/ 16346 w 16683"/>
                <a:gd name="connsiteY4" fmla="*/ 8068 h 56864"/>
                <a:gd name="connsiteX5" fmla="*/ 16346 w 16683"/>
                <a:gd name="connsiteY5" fmla="*/ 47882 h 56864"/>
                <a:gd name="connsiteX6" fmla="*/ 8545 w 16683"/>
                <a:gd name="connsiteY6" fmla="*/ 56636 h 56864"/>
                <a:gd name="connsiteX7" fmla="*/ 8059 w 16683"/>
                <a:gd name="connsiteY7" fmla="*/ 56645 h 5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83" h="56864">
                  <a:moveTo>
                    <a:pt x="8059" y="56645"/>
                  </a:moveTo>
                  <a:cubicBezTo>
                    <a:pt x="3468" y="56645"/>
                    <a:pt x="-275" y="52950"/>
                    <a:pt x="-323" y="48359"/>
                  </a:cubicBezTo>
                  <a:lnTo>
                    <a:pt x="-323" y="8068"/>
                  </a:lnTo>
                  <a:cubicBezTo>
                    <a:pt x="-218" y="3496"/>
                    <a:pt x="3487" y="-171"/>
                    <a:pt x="8059" y="-219"/>
                  </a:cubicBezTo>
                  <a:cubicBezTo>
                    <a:pt x="12641" y="-219"/>
                    <a:pt x="16346" y="3496"/>
                    <a:pt x="16346" y="8068"/>
                  </a:cubicBezTo>
                  <a:lnTo>
                    <a:pt x="16346" y="47882"/>
                  </a:lnTo>
                  <a:cubicBezTo>
                    <a:pt x="16613" y="52454"/>
                    <a:pt x="13117" y="56369"/>
                    <a:pt x="8545" y="56636"/>
                  </a:cubicBezTo>
                  <a:cubicBezTo>
                    <a:pt x="8383" y="56645"/>
                    <a:pt x="8221" y="56645"/>
                    <a:pt x="8059" y="5664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5" name="Grafik 5">
              <a:extLst>
                <a:ext uri="{FF2B5EF4-FFF2-40B4-BE49-F238E27FC236}">
                  <a16:creationId xmlns:a16="http://schemas.microsoft.com/office/drawing/2014/main" id="{F924B65B-7363-44DE-8D8D-D6A660E89DA5}"/>
                </a:ext>
              </a:extLst>
            </p:cNvPr>
            <p:cNvSpPr/>
            <p:nvPr/>
          </p:nvSpPr>
          <p:spPr>
            <a:xfrm>
              <a:off x="4349535" y="5708858"/>
              <a:ext cx="101345" cy="101345"/>
            </a:xfrm>
            <a:custGeom>
              <a:avLst/>
              <a:gdLst>
                <a:gd name="connsiteX0" fmla="*/ 50350 w 101345"/>
                <a:gd name="connsiteY0" fmla="*/ -219 h 101345"/>
                <a:gd name="connsiteX1" fmla="*/ -323 w 101345"/>
                <a:gd name="connsiteY1" fmla="*/ 50454 h 101345"/>
                <a:gd name="connsiteX2" fmla="*/ 50350 w 101345"/>
                <a:gd name="connsiteY2" fmla="*/ 101127 h 101345"/>
                <a:gd name="connsiteX3" fmla="*/ 101023 w 101345"/>
                <a:gd name="connsiteY3" fmla="*/ 50454 h 101345"/>
                <a:gd name="connsiteX4" fmla="*/ 50350 w 101345"/>
                <a:gd name="connsiteY4" fmla="*/ -219 h 101345"/>
                <a:gd name="connsiteX5" fmla="*/ 50350 w 101345"/>
                <a:gd name="connsiteY5" fmla="*/ 67313 h 101345"/>
                <a:gd name="connsiteX6" fmla="*/ 33301 w 101345"/>
                <a:gd name="connsiteY6" fmla="*/ 50454 h 101345"/>
                <a:gd name="connsiteX7" fmla="*/ 50160 w 101345"/>
                <a:gd name="connsiteY7" fmla="*/ 33404 h 101345"/>
                <a:gd name="connsiteX8" fmla="*/ 67210 w 101345"/>
                <a:gd name="connsiteY8" fmla="*/ 50264 h 101345"/>
                <a:gd name="connsiteX9" fmla="*/ 67210 w 101345"/>
                <a:gd name="connsiteY9" fmla="*/ 50454 h 101345"/>
                <a:gd name="connsiteX10" fmla="*/ 50350 w 101345"/>
                <a:gd name="connsiteY10" fmla="*/ 67313 h 10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45" h="101345">
                  <a:moveTo>
                    <a:pt x="50350" y="-219"/>
                  </a:moveTo>
                  <a:cubicBezTo>
                    <a:pt x="22366" y="-219"/>
                    <a:pt x="-323" y="22470"/>
                    <a:pt x="-323" y="50454"/>
                  </a:cubicBezTo>
                  <a:cubicBezTo>
                    <a:pt x="-323" y="78439"/>
                    <a:pt x="22366" y="101127"/>
                    <a:pt x="50350" y="101127"/>
                  </a:cubicBezTo>
                  <a:cubicBezTo>
                    <a:pt x="78335" y="101127"/>
                    <a:pt x="101023" y="78439"/>
                    <a:pt x="101023" y="50454"/>
                  </a:cubicBezTo>
                  <a:cubicBezTo>
                    <a:pt x="101023" y="22470"/>
                    <a:pt x="78335" y="-219"/>
                    <a:pt x="50350" y="-219"/>
                  </a:cubicBezTo>
                  <a:close/>
                  <a:moveTo>
                    <a:pt x="50350" y="67313"/>
                  </a:moveTo>
                  <a:cubicBezTo>
                    <a:pt x="40987" y="67361"/>
                    <a:pt x="33358" y="59817"/>
                    <a:pt x="33301" y="50454"/>
                  </a:cubicBezTo>
                  <a:cubicBezTo>
                    <a:pt x="33253" y="41091"/>
                    <a:pt x="40797" y="33462"/>
                    <a:pt x="50160" y="33404"/>
                  </a:cubicBezTo>
                  <a:cubicBezTo>
                    <a:pt x="59523" y="33357"/>
                    <a:pt x="67152" y="40900"/>
                    <a:pt x="67210" y="50264"/>
                  </a:cubicBezTo>
                  <a:cubicBezTo>
                    <a:pt x="67210" y="50330"/>
                    <a:pt x="67210" y="50387"/>
                    <a:pt x="67210" y="50454"/>
                  </a:cubicBezTo>
                  <a:cubicBezTo>
                    <a:pt x="67210" y="59770"/>
                    <a:pt x="59666" y="67313"/>
                    <a:pt x="50350" y="6731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6" name="Grafik 5">
              <a:extLst>
                <a:ext uri="{FF2B5EF4-FFF2-40B4-BE49-F238E27FC236}">
                  <a16:creationId xmlns:a16="http://schemas.microsoft.com/office/drawing/2014/main" id="{913C7071-AA02-4E16-B9DA-8523FC7B72A8}"/>
                </a:ext>
              </a:extLst>
            </p:cNvPr>
            <p:cNvSpPr/>
            <p:nvPr/>
          </p:nvSpPr>
          <p:spPr>
            <a:xfrm>
              <a:off x="4450395" y="5667271"/>
              <a:ext cx="67596" cy="184757"/>
            </a:xfrm>
            <a:custGeom>
              <a:avLst/>
              <a:gdLst>
                <a:gd name="connsiteX0" fmla="*/ 27882 w 67596"/>
                <a:gd name="connsiteY0" fmla="*/ 4030 h 184757"/>
                <a:gd name="connsiteX1" fmla="*/ 4069 w 67596"/>
                <a:gd name="connsiteY1" fmla="*/ 5459 h 184757"/>
                <a:gd name="connsiteX2" fmla="*/ 5498 w 67596"/>
                <a:gd name="connsiteY2" fmla="*/ 29271 h 184757"/>
                <a:gd name="connsiteX3" fmla="*/ 12260 w 67596"/>
                <a:gd name="connsiteY3" fmla="*/ 147953 h 184757"/>
                <a:gd name="connsiteX4" fmla="*/ 5498 w 67596"/>
                <a:gd name="connsiteY4" fmla="*/ 154715 h 184757"/>
                <a:gd name="connsiteX5" fmla="*/ 3879 w 67596"/>
                <a:gd name="connsiteY5" fmla="*/ 178718 h 184757"/>
                <a:gd name="connsiteX6" fmla="*/ 27882 w 67596"/>
                <a:gd name="connsiteY6" fmla="*/ 180338 h 184757"/>
                <a:gd name="connsiteX7" fmla="*/ 27882 w 67596"/>
                <a:gd name="connsiteY7" fmla="*/ 180338 h 184757"/>
                <a:gd name="connsiteX8" fmla="*/ 37407 w 67596"/>
                <a:gd name="connsiteY8" fmla="*/ 13936 h 184757"/>
                <a:gd name="connsiteX9" fmla="*/ 27882 w 67596"/>
                <a:gd name="connsiteY9" fmla="*/ 4030 h 18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596" h="184757">
                  <a:moveTo>
                    <a:pt x="27882" y="4030"/>
                  </a:moveTo>
                  <a:cubicBezTo>
                    <a:pt x="20909" y="-2152"/>
                    <a:pt x="10251" y="-1514"/>
                    <a:pt x="4069" y="5459"/>
                  </a:cubicBezTo>
                  <a:cubicBezTo>
                    <a:pt x="-2113" y="12431"/>
                    <a:pt x="-1475" y="23089"/>
                    <a:pt x="5498" y="29271"/>
                  </a:cubicBezTo>
                  <a:cubicBezTo>
                    <a:pt x="40064" y="60218"/>
                    <a:pt x="43083" y="113282"/>
                    <a:pt x="12260" y="147953"/>
                  </a:cubicBezTo>
                  <a:cubicBezTo>
                    <a:pt x="10127" y="150324"/>
                    <a:pt x="7869" y="152582"/>
                    <a:pt x="5498" y="154715"/>
                  </a:cubicBezTo>
                  <a:cubicBezTo>
                    <a:pt x="-1579" y="160897"/>
                    <a:pt x="-2303" y="171641"/>
                    <a:pt x="3879" y="178718"/>
                  </a:cubicBezTo>
                  <a:cubicBezTo>
                    <a:pt x="10060" y="185796"/>
                    <a:pt x="20804" y="186519"/>
                    <a:pt x="27882" y="180338"/>
                  </a:cubicBezTo>
                  <a:lnTo>
                    <a:pt x="27882" y="180338"/>
                  </a:lnTo>
                  <a:cubicBezTo>
                    <a:pt x="76430" y="136999"/>
                    <a:pt x="80688" y="62532"/>
                    <a:pt x="37407" y="13936"/>
                  </a:cubicBezTo>
                  <a:cubicBezTo>
                    <a:pt x="34435" y="10450"/>
                    <a:pt x="31253" y="7145"/>
                    <a:pt x="27882" y="403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7" name="Grafik 5">
              <a:extLst>
                <a:ext uri="{FF2B5EF4-FFF2-40B4-BE49-F238E27FC236}">
                  <a16:creationId xmlns:a16="http://schemas.microsoft.com/office/drawing/2014/main" id="{637A60C3-3EA3-4389-B56B-FAF5FFE36335}"/>
                </a:ext>
              </a:extLst>
            </p:cNvPr>
            <p:cNvSpPr/>
            <p:nvPr/>
          </p:nvSpPr>
          <p:spPr>
            <a:xfrm>
              <a:off x="4281947" y="5667271"/>
              <a:ext cx="67587" cy="184508"/>
            </a:xfrm>
            <a:custGeom>
              <a:avLst/>
              <a:gdLst>
                <a:gd name="connsiteX0" fmla="*/ 61551 w 67587"/>
                <a:gd name="connsiteY0" fmla="*/ 29271 h 184508"/>
                <a:gd name="connsiteX1" fmla="*/ 62979 w 67587"/>
                <a:gd name="connsiteY1" fmla="*/ 5459 h 184508"/>
                <a:gd name="connsiteX2" fmla="*/ 39167 w 67587"/>
                <a:gd name="connsiteY2" fmla="*/ 4030 h 184508"/>
                <a:gd name="connsiteX3" fmla="*/ 29490 w 67587"/>
                <a:gd name="connsiteY3" fmla="*/ 170375 h 184508"/>
                <a:gd name="connsiteX4" fmla="*/ 39167 w 67587"/>
                <a:gd name="connsiteY4" fmla="*/ 180052 h 184508"/>
                <a:gd name="connsiteX5" fmla="*/ 63027 w 67587"/>
                <a:gd name="connsiteY5" fmla="*/ 178576 h 184508"/>
                <a:gd name="connsiteX6" fmla="*/ 61551 w 67587"/>
                <a:gd name="connsiteY6" fmla="*/ 154715 h 184508"/>
                <a:gd name="connsiteX7" fmla="*/ 54788 w 67587"/>
                <a:gd name="connsiteY7" fmla="*/ 36129 h 184508"/>
                <a:gd name="connsiteX8" fmla="*/ 61551 w 67587"/>
                <a:gd name="connsiteY8" fmla="*/ 29271 h 184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587" h="184508">
                  <a:moveTo>
                    <a:pt x="61551" y="29271"/>
                  </a:moveTo>
                  <a:cubicBezTo>
                    <a:pt x="68523" y="23089"/>
                    <a:pt x="69161" y="12431"/>
                    <a:pt x="62979" y="5459"/>
                  </a:cubicBezTo>
                  <a:cubicBezTo>
                    <a:pt x="56798" y="-1514"/>
                    <a:pt x="46139" y="-2152"/>
                    <a:pt x="39167" y="4030"/>
                  </a:cubicBezTo>
                  <a:cubicBezTo>
                    <a:pt x="-9439" y="47293"/>
                    <a:pt x="-13773" y="121769"/>
                    <a:pt x="29490" y="170375"/>
                  </a:cubicBezTo>
                  <a:cubicBezTo>
                    <a:pt x="32528" y="173785"/>
                    <a:pt x="35757" y="177014"/>
                    <a:pt x="39167" y="180052"/>
                  </a:cubicBezTo>
                  <a:cubicBezTo>
                    <a:pt x="46168" y="186234"/>
                    <a:pt x="56845" y="185576"/>
                    <a:pt x="63027" y="178576"/>
                  </a:cubicBezTo>
                  <a:cubicBezTo>
                    <a:pt x="69209" y="171584"/>
                    <a:pt x="68552" y="160897"/>
                    <a:pt x="61551" y="154715"/>
                  </a:cubicBezTo>
                  <a:cubicBezTo>
                    <a:pt x="26946" y="123835"/>
                    <a:pt x="23917" y="70753"/>
                    <a:pt x="54788" y="36129"/>
                  </a:cubicBezTo>
                  <a:cubicBezTo>
                    <a:pt x="56922" y="33729"/>
                    <a:pt x="59179" y="31433"/>
                    <a:pt x="61551" y="29271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8" name="Grafik 5">
              <a:extLst>
                <a:ext uri="{FF2B5EF4-FFF2-40B4-BE49-F238E27FC236}">
                  <a16:creationId xmlns:a16="http://schemas.microsoft.com/office/drawing/2014/main" id="{C13146CF-E8BC-46F6-A0E1-B079CCF60585}"/>
                </a:ext>
              </a:extLst>
            </p:cNvPr>
            <p:cNvSpPr/>
            <p:nvPr/>
          </p:nvSpPr>
          <p:spPr>
            <a:xfrm>
              <a:off x="4495628" y="5616683"/>
              <a:ext cx="90439" cy="285588"/>
            </a:xfrm>
            <a:custGeom>
              <a:avLst/>
              <a:gdLst>
                <a:gd name="connsiteX0" fmla="*/ 28082 w 90439"/>
                <a:gd name="connsiteY0" fmla="*/ 4326 h 285588"/>
                <a:gd name="connsiteX1" fmla="*/ 4222 w 90439"/>
                <a:gd name="connsiteY1" fmla="*/ 5136 h 285588"/>
                <a:gd name="connsiteX2" fmla="*/ 5032 w 90439"/>
                <a:gd name="connsiteY2" fmla="*/ 28996 h 285588"/>
                <a:gd name="connsiteX3" fmla="*/ 5699 w 90439"/>
                <a:gd name="connsiteY3" fmla="*/ 29663 h 285588"/>
                <a:gd name="connsiteX4" fmla="*/ 17967 w 90439"/>
                <a:gd name="connsiteY4" fmla="*/ 243222 h 285588"/>
                <a:gd name="connsiteX5" fmla="*/ 17891 w 90439"/>
                <a:gd name="connsiteY5" fmla="*/ 243308 h 285588"/>
                <a:gd name="connsiteX6" fmla="*/ 5699 w 90439"/>
                <a:gd name="connsiteY6" fmla="*/ 255596 h 285588"/>
                <a:gd name="connsiteX7" fmla="*/ 3651 w 90439"/>
                <a:gd name="connsiteY7" fmla="*/ 279360 h 285588"/>
                <a:gd name="connsiteX8" fmla="*/ 27416 w 90439"/>
                <a:gd name="connsiteY8" fmla="*/ 281408 h 285588"/>
                <a:gd name="connsiteX9" fmla="*/ 28082 w 90439"/>
                <a:gd name="connsiteY9" fmla="*/ 280837 h 285588"/>
                <a:gd name="connsiteX10" fmla="*/ 43294 w 90439"/>
                <a:gd name="connsiteY10" fmla="*/ 19547 h 285588"/>
                <a:gd name="connsiteX11" fmla="*/ 43227 w 90439"/>
                <a:gd name="connsiteY11" fmla="*/ 19471 h 285588"/>
                <a:gd name="connsiteX12" fmla="*/ 28082 w 90439"/>
                <a:gd name="connsiteY12" fmla="*/ 4326 h 285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439" h="285588">
                  <a:moveTo>
                    <a:pt x="28082" y="4326"/>
                  </a:moveTo>
                  <a:cubicBezTo>
                    <a:pt x="21272" y="-2037"/>
                    <a:pt x="10585" y="-1675"/>
                    <a:pt x="4222" y="5136"/>
                  </a:cubicBezTo>
                  <a:cubicBezTo>
                    <a:pt x="-2141" y="11946"/>
                    <a:pt x="-1778" y="22633"/>
                    <a:pt x="5032" y="28996"/>
                  </a:cubicBezTo>
                  <a:cubicBezTo>
                    <a:pt x="5203" y="29263"/>
                    <a:pt x="5432" y="29491"/>
                    <a:pt x="5699" y="29663"/>
                  </a:cubicBezTo>
                  <a:cubicBezTo>
                    <a:pt x="68059" y="85250"/>
                    <a:pt x="73555" y="180862"/>
                    <a:pt x="17967" y="243222"/>
                  </a:cubicBezTo>
                  <a:cubicBezTo>
                    <a:pt x="17948" y="243251"/>
                    <a:pt x="17919" y="243280"/>
                    <a:pt x="17891" y="243308"/>
                  </a:cubicBezTo>
                  <a:cubicBezTo>
                    <a:pt x="14042" y="247614"/>
                    <a:pt x="9975" y="251719"/>
                    <a:pt x="5699" y="255596"/>
                  </a:cubicBezTo>
                  <a:cubicBezTo>
                    <a:pt x="-1426" y="261596"/>
                    <a:pt x="-2350" y="272236"/>
                    <a:pt x="3651" y="279360"/>
                  </a:cubicBezTo>
                  <a:cubicBezTo>
                    <a:pt x="9651" y="286485"/>
                    <a:pt x="20291" y="287409"/>
                    <a:pt x="27416" y="281408"/>
                  </a:cubicBezTo>
                  <a:lnTo>
                    <a:pt x="28082" y="280837"/>
                  </a:lnTo>
                  <a:cubicBezTo>
                    <a:pt x="104435" y="212885"/>
                    <a:pt x="111245" y="95899"/>
                    <a:pt x="43294" y="19547"/>
                  </a:cubicBezTo>
                  <a:cubicBezTo>
                    <a:pt x="43275" y="19528"/>
                    <a:pt x="43246" y="19499"/>
                    <a:pt x="43227" y="19471"/>
                  </a:cubicBezTo>
                  <a:cubicBezTo>
                    <a:pt x="38464" y="14137"/>
                    <a:pt x="33416" y="9088"/>
                    <a:pt x="28082" y="4326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39" name="Grafik 5">
              <a:extLst>
                <a:ext uri="{FF2B5EF4-FFF2-40B4-BE49-F238E27FC236}">
                  <a16:creationId xmlns:a16="http://schemas.microsoft.com/office/drawing/2014/main" id="{FFDF3359-486A-4A87-B8D9-39B62A7E201D}"/>
                </a:ext>
              </a:extLst>
            </p:cNvPr>
            <p:cNvSpPr/>
            <p:nvPr/>
          </p:nvSpPr>
          <p:spPr>
            <a:xfrm>
              <a:off x="4214349" y="5616706"/>
              <a:ext cx="90464" cy="285577"/>
            </a:xfrm>
            <a:custGeom>
              <a:avLst/>
              <a:gdLst>
                <a:gd name="connsiteX0" fmla="*/ 33518 w 90464"/>
                <a:gd name="connsiteY0" fmla="*/ 142607 h 285577"/>
                <a:gd name="connsiteX1" fmla="*/ 84095 w 90464"/>
                <a:gd name="connsiteY1" fmla="*/ 29640 h 285577"/>
                <a:gd name="connsiteX2" fmla="*/ 86191 w 90464"/>
                <a:gd name="connsiteY2" fmla="*/ 5827 h 285577"/>
                <a:gd name="connsiteX3" fmla="*/ 62378 w 90464"/>
                <a:gd name="connsiteY3" fmla="*/ 3732 h 285577"/>
                <a:gd name="connsiteX4" fmla="*/ 61712 w 90464"/>
                <a:gd name="connsiteY4" fmla="*/ 4303 h 285577"/>
                <a:gd name="connsiteX5" fmla="*/ 46500 w 90464"/>
                <a:gd name="connsiteY5" fmla="*/ 265593 h 285577"/>
                <a:gd name="connsiteX6" fmla="*/ 46567 w 90464"/>
                <a:gd name="connsiteY6" fmla="*/ 265669 h 285577"/>
                <a:gd name="connsiteX7" fmla="*/ 61712 w 90464"/>
                <a:gd name="connsiteY7" fmla="*/ 280814 h 285577"/>
                <a:gd name="connsiteX8" fmla="*/ 85572 w 90464"/>
                <a:gd name="connsiteY8" fmla="*/ 280005 h 285577"/>
                <a:gd name="connsiteX9" fmla="*/ 84762 w 90464"/>
                <a:gd name="connsiteY9" fmla="*/ 256144 h 285577"/>
                <a:gd name="connsiteX10" fmla="*/ 84095 w 90464"/>
                <a:gd name="connsiteY10" fmla="*/ 255573 h 285577"/>
                <a:gd name="connsiteX11" fmla="*/ 33518 w 90464"/>
                <a:gd name="connsiteY11" fmla="*/ 142607 h 285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464" h="285577">
                  <a:moveTo>
                    <a:pt x="33518" y="142607"/>
                  </a:moveTo>
                  <a:cubicBezTo>
                    <a:pt x="33403" y="99439"/>
                    <a:pt x="51825" y="58310"/>
                    <a:pt x="84095" y="29640"/>
                  </a:cubicBezTo>
                  <a:cubicBezTo>
                    <a:pt x="91249" y="23639"/>
                    <a:pt x="92192" y="12981"/>
                    <a:pt x="86191" y="5827"/>
                  </a:cubicBezTo>
                  <a:cubicBezTo>
                    <a:pt x="80190" y="-1326"/>
                    <a:pt x="69532" y="-2269"/>
                    <a:pt x="62378" y="3732"/>
                  </a:cubicBezTo>
                  <a:lnTo>
                    <a:pt x="61712" y="4303"/>
                  </a:lnTo>
                  <a:cubicBezTo>
                    <a:pt x="-14641" y="72255"/>
                    <a:pt x="-21451" y="189241"/>
                    <a:pt x="46500" y="265593"/>
                  </a:cubicBezTo>
                  <a:cubicBezTo>
                    <a:pt x="46519" y="265612"/>
                    <a:pt x="46548" y="265641"/>
                    <a:pt x="46567" y="265669"/>
                  </a:cubicBezTo>
                  <a:cubicBezTo>
                    <a:pt x="51329" y="271003"/>
                    <a:pt x="56378" y="276052"/>
                    <a:pt x="61712" y="280814"/>
                  </a:cubicBezTo>
                  <a:cubicBezTo>
                    <a:pt x="68522" y="287177"/>
                    <a:pt x="79209" y="286815"/>
                    <a:pt x="85572" y="280005"/>
                  </a:cubicBezTo>
                  <a:cubicBezTo>
                    <a:pt x="91935" y="273194"/>
                    <a:pt x="91573" y="262507"/>
                    <a:pt x="84762" y="256144"/>
                  </a:cubicBezTo>
                  <a:lnTo>
                    <a:pt x="84095" y="255573"/>
                  </a:lnTo>
                  <a:cubicBezTo>
                    <a:pt x="51844" y="226893"/>
                    <a:pt x="33432" y="185764"/>
                    <a:pt x="33518" y="142607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40" name="Grafik 5">
              <a:extLst>
                <a:ext uri="{FF2B5EF4-FFF2-40B4-BE49-F238E27FC236}">
                  <a16:creationId xmlns:a16="http://schemas.microsoft.com/office/drawing/2014/main" id="{F890486F-9D72-4568-8128-A7A809161524}"/>
                </a:ext>
              </a:extLst>
            </p:cNvPr>
            <p:cNvSpPr/>
            <p:nvPr/>
          </p:nvSpPr>
          <p:spPr>
            <a:xfrm>
              <a:off x="4540561" y="5566783"/>
              <a:ext cx="112971" cy="385865"/>
            </a:xfrm>
            <a:custGeom>
              <a:avLst/>
              <a:gdLst>
                <a:gd name="connsiteX0" fmla="*/ 28202 w 112971"/>
                <a:gd name="connsiteY0" fmla="*/ 4030 h 385865"/>
                <a:gd name="connsiteX1" fmla="*/ 4390 w 112971"/>
                <a:gd name="connsiteY1" fmla="*/ 5459 h 385865"/>
                <a:gd name="connsiteX2" fmla="*/ 5819 w 112971"/>
                <a:gd name="connsiteY2" fmla="*/ 29271 h 385865"/>
                <a:gd name="connsiteX3" fmla="*/ 23621 w 112971"/>
                <a:gd name="connsiteY3" fmla="*/ 337767 h 385865"/>
                <a:gd name="connsiteX4" fmla="*/ 23440 w 112971"/>
                <a:gd name="connsiteY4" fmla="*/ 337977 h 385865"/>
                <a:gd name="connsiteX5" fmla="*/ 5724 w 112971"/>
                <a:gd name="connsiteY5" fmla="*/ 355788 h 385865"/>
                <a:gd name="connsiteX6" fmla="*/ 3628 w 112971"/>
                <a:gd name="connsiteY6" fmla="*/ 379601 h 385865"/>
                <a:gd name="connsiteX7" fmla="*/ 27441 w 112971"/>
                <a:gd name="connsiteY7" fmla="*/ 381696 h 385865"/>
                <a:gd name="connsiteX8" fmla="*/ 28107 w 112971"/>
                <a:gd name="connsiteY8" fmla="*/ 381029 h 385865"/>
                <a:gd name="connsiteX9" fmla="*/ 48776 w 112971"/>
                <a:gd name="connsiteY9" fmla="*/ 24794 h 385865"/>
                <a:gd name="connsiteX10" fmla="*/ 48776 w 112971"/>
                <a:gd name="connsiteY10" fmla="*/ 24794 h 385865"/>
                <a:gd name="connsiteX11" fmla="*/ 28107 w 112971"/>
                <a:gd name="connsiteY11" fmla="*/ 4125 h 385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971" h="385865">
                  <a:moveTo>
                    <a:pt x="28202" y="4030"/>
                  </a:moveTo>
                  <a:cubicBezTo>
                    <a:pt x="21230" y="-2152"/>
                    <a:pt x="10572" y="-1514"/>
                    <a:pt x="4390" y="5459"/>
                  </a:cubicBezTo>
                  <a:cubicBezTo>
                    <a:pt x="-1792" y="12431"/>
                    <a:pt x="-1154" y="23090"/>
                    <a:pt x="5819" y="29271"/>
                  </a:cubicBezTo>
                  <a:cubicBezTo>
                    <a:pt x="95925" y="109538"/>
                    <a:pt x="103898" y="247661"/>
                    <a:pt x="23621" y="337767"/>
                  </a:cubicBezTo>
                  <a:cubicBezTo>
                    <a:pt x="23564" y="337833"/>
                    <a:pt x="23497" y="337910"/>
                    <a:pt x="23440" y="337977"/>
                  </a:cubicBezTo>
                  <a:cubicBezTo>
                    <a:pt x="17896" y="344263"/>
                    <a:pt x="11981" y="350216"/>
                    <a:pt x="5724" y="355788"/>
                  </a:cubicBezTo>
                  <a:cubicBezTo>
                    <a:pt x="-1430" y="361789"/>
                    <a:pt x="-2373" y="372447"/>
                    <a:pt x="3628" y="379601"/>
                  </a:cubicBezTo>
                  <a:cubicBezTo>
                    <a:pt x="9629" y="386754"/>
                    <a:pt x="20287" y="387697"/>
                    <a:pt x="27441" y="381696"/>
                  </a:cubicBezTo>
                  <a:lnTo>
                    <a:pt x="28107" y="381029"/>
                  </a:lnTo>
                  <a:cubicBezTo>
                    <a:pt x="132187" y="288370"/>
                    <a:pt x="141445" y="128874"/>
                    <a:pt x="48776" y="24794"/>
                  </a:cubicBezTo>
                  <a:cubicBezTo>
                    <a:pt x="48776" y="24794"/>
                    <a:pt x="48776" y="24794"/>
                    <a:pt x="48776" y="24794"/>
                  </a:cubicBezTo>
                  <a:cubicBezTo>
                    <a:pt x="42300" y="17508"/>
                    <a:pt x="35394" y="10602"/>
                    <a:pt x="28107" y="412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141" name="Grafik 5">
              <a:extLst>
                <a:ext uri="{FF2B5EF4-FFF2-40B4-BE49-F238E27FC236}">
                  <a16:creationId xmlns:a16="http://schemas.microsoft.com/office/drawing/2014/main" id="{98BA2426-05C9-439C-8001-2C73E65ED2A8}"/>
                </a:ext>
              </a:extLst>
            </p:cNvPr>
            <p:cNvSpPr/>
            <p:nvPr/>
          </p:nvSpPr>
          <p:spPr>
            <a:xfrm>
              <a:off x="4146788" y="5566783"/>
              <a:ext cx="112603" cy="385401"/>
            </a:xfrm>
            <a:custGeom>
              <a:avLst/>
              <a:gdLst>
                <a:gd name="connsiteX0" fmla="*/ 33451 w 112603"/>
                <a:gd name="connsiteY0" fmla="*/ 192530 h 385401"/>
                <a:gd name="connsiteX1" fmla="*/ 106603 w 112603"/>
                <a:gd name="connsiteY1" fmla="*/ 29271 h 385401"/>
                <a:gd name="connsiteX2" fmla="*/ 108032 w 112603"/>
                <a:gd name="connsiteY2" fmla="*/ 5459 h 385401"/>
                <a:gd name="connsiteX3" fmla="*/ 84219 w 112603"/>
                <a:gd name="connsiteY3" fmla="*/ 4030 h 385401"/>
                <a:gd name="connsiteX4" fmla="*/ 63550 w 112603"/>
                <a:gd name="connsiteY4" fmla="*/ 360265 h 385401"/>
                <a:gd name="connsiteX5" fmla="*/ 63550 w 112603"/>
                <a:gd name="connsiteY5" fmla="*/ 360265 h 385401"/>
                <a:gd name="connsiteX6" fmla="*/ 84219 w 112603"/>
                <a:gd name="connsiteY6" fmla="*/ 380934 h 385401"/>
                <a:gd name="connsiteX7" fmla="*/ 108032 w 112603"/>
                <a:gd name="connsiteY7" fmla="*/ 379505 h 385401"/>
                <a:gd name="connsiteX8" fmla="*/ 106603 w 112603"/>
                <a:gd name="connsiteY8" fmla="*/ 355693 h 385401"/>
                <a:gd name="connsiteX9" fmla="*/ 33451 w 112603"/>
                <a:gd name="connsiteY9" fmla="*/ 192530 h 385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603" h="385401">
                  <a:moveTo>
                    <a:pt x="33451" y="192530"/>
                  </a:moveTo>
                  <a:cubicBezTo>
                    <a:pt x="33375" y="130151"/>
                    <a:pt x="59997" y="70724"/>
                    <a:pt x="106603" y="29271"/>
                  </a:cubicBezTo>
                  <a:cubicBezTo>
                    <a:pt x="113575" y="23090"/>
                    <a:pt x="114213" y="12431"/>
                    <a:pt x="108032" y="5459"/>
                  </a:cubicBezTo>
                  <a:cubicBezTo>
                    <a:pt x="101850" y="-1514"/>
                    <a:pt x="91191" y="-2152"/>
                    <a:pt x="84219" y="4030"/>
                  </a:cubicBezTo>
                  <a:cubicBezTo>
                    <a:pt x="-19861" y="96689"/>
                    <a:pt x="-29119" y="256185"/>
                    <a:pt x="63550" y="360265"/>
                  </a:cubicBezTo>
                  <a:cubicBezTo>
                    <a:pt x="63550" y="360265"/>
                    <a:pt x="63550" y="360265"/>
                    <a:pt x="63550" y="360265"/>
                  </a:cubicBezTo>
                  <a:cubicBezTo>
                    <a:pt x="70008" y="367580"/>
                    <a:pt x="76904" y="374476"/>
                    <a:pt x="84219" y="380934"/>
                  </a:cubicBezTo>
                  <a:cubicBezTo>
                    <a:pt x="91191" y="387116"/>
                    <a:pt x="101850" y="386478"/>
                    <a:pt x="108032" y="379505"/>
                  </a:cubicBezTo>
                  <a:cubicBezTo>
                    <a:pt x="114213" y="372533"/>
                    <a:pt x="113575" y="361875"/>
                    <a:pt x="106603" y="355693"/>
                  </a:cubicBezTo>
                  <a:cubicBezTo>
                    <a:pt x="60016" y="314269"/>
                    <a:pt x="33384" y="254871"/>
                    <a:pt x="33451" y="19253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</p:grpSp>
    </p:spTree>
    <p:extLst>
      <p:ext uri="{BB962C8B-B14F-4D97-AF65-F5344CB8AC3E}">
        <p14:creationId xmlns:p14="http://schemas.microsoft.com/office/powerpoint/2010/main" val="4238437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MiddlePage_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4406904"/>
            <a:ext cx="10734549" cy="1362075"/>
          </a:xfrm>
          <a:prstGeom prst="rect">
            <a:avLst/>
          </a:prstGeom>
        </p:spPr>
        <p:txBody>
          <a:bodyPr anchor="t"/>
          <a:lstStyle>
            <a:lvl1pPr algn="l">
              <a:defRPr sz="3998" b="1" cap="all"/>
            </a:lvl1pPr>
          </a:lstStyle>
          <a:p>
            <a:r>
              <a:rPr lang="en-US" dirty="0"/>
              <a:t>Click to edit Chapter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4" y="2906713"/>
            <a:ext cx="10734549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9"/>
            </a:lvl1pPr>
            <a:lvl2pPr marL="456971" indent="0">
              <a:buNone/>
              <a:defRPr sz="1799"/>
            </a:lvl2pPr>
            <a:lvl3pPr marL="913943" indent="0">
              <a:buNone/>
              <a:defRPr sz="1599"/>
            </a:lvl3pPr>
            <a:lvl4pPr marL="1370914" indent="0">
              <a:buNone/>
              <a:defRPr sz="1399"/>
            </a:lvl4pPr>
            <a:lvl5pPr marL="1827886" indent="0">
              <a:buNone/>
              <a:defRPr sz="1399"/>
            </a:lvl5pPr>
            <a:lvl6pPr marL="2284857" indent="0">
              <a:buNone/>
              <a:defRPr sz="1399"/>
            </a:lvl6pPr>
            <a:lvl7pPr marL="2741828" indent="0">
              <a:buNone/>
              <a:defRPr sz="1399"/>
            </a:lvl7pPr>
            <a:lvl8pPr marL="3198800" indent="0">
              <a:buNone/>
              <a:defRPr sz="1399"/>
            </a:lvl8pPr>
            <a:lvl9pPr marL="3655771" indent="0">
              <a:buNone/>
              <a:defRPr sz="1399"/>
            </a:lvl9pPr>
          </a:lstStyle>
          <a:p>
            <a:pPr lvl="0"/>
            <a:r>
              <a:rPr lang="en-US" dirty="0"/>
              <a:t>Click to edit Sub-chapter</a:t>
            </a:r>
          </a:p>
        </p:txBody>
      </p:sp>
    </p:spTree>
    <p:extLst>
      <p:ext uri="{BB962C8B-B14F-4D97-AF65-F5344CB8AC3E}">
        <p14:creationId xmlns:p14="http://schemas.microsoft.com/office/powerpoint/2010/main" val="2822234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56798DA-AAC6-47A3-BE8C-B938F3CBFB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810555"/>
              </p:ext>
            </p:ext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1" imgH="298" progId="TCLayout.ActiveDocument.1">
                  <p:embed/>
                </p:oleObj>
              </mc:Choice>
              <mc:Fallback>
                <p:oleObj name="think-cell Folie" r:id="rId3" imgW="301" imgH="29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56798DA-AAC6-47A3-BE8C-B938F3CBF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88D68E-18DA-4A76-AE18-C80B0E2C8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246343-B8EC-4E7E-A469-7872989D6F2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4122" y="1088773"/>
            <a:ext cx="11335200" cy="5148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647753905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5">
            <a:extLst>
              <a:ext uri="{FF2B5EF4-FFF2-40B4-BE49-F238E27FC236}">
                <a16:creationId xmlns:a16="http://schemas.microsoft.com/office/drawing/2014/main" id="{C955E1F0-E707-4397-B81A-AEA7690CA2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3429000"/>
            <a:ext cx="12198349" cy="3429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B0029F-A00E-403A-BFAC-33C127D91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122" y="2789916"/>
            <a:ext cx="11335201" cy="43078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" name="直線コネクタ 20">
            <a:extLst>
              <a:ext uri="{FF2B5EF4-FFF2-40B4-BE49-F238E27FC236}">
                <a16:creationId xmlns:a16="http://schemas.microsoft.com/office/drawing/2014/main" id="{86F49C97-D56C-4E1D-807A-3582D4355D46}"/>
              </a:ext>
            </a:extLst>
          </p:cNvPr>
          <p:cNvCxnSpPr/>
          <p:nvPr/>
        </p:nvCxnSpPr>
        <p:spPr>
          <a:xfrm>
            <a:off x="1546821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フッター プレースホルダー 3">
            <a:extLst>
              <a:ext uri="{FF2B5EF4-FFF2-40B4-BE49-F238E27FC236}">
                <a16:creationId xmlns:a16="http://schemas.microsoft.com/office/drawing/2014/main" id="{67A9100F-58AD-428D-B2E8-7DE7D01515DD}"/>
              </a:ext>
            </a:extLst>
          </p:cNvPr>
          <p:cNvSpPr txBox="1">
            <a:spLocks/>
          </p:cNvSpPr>
          <p:nvPr/>
        </p:nvSpPr>
        <p:spPr>
          <a:xfrm>
            <a:off x="2888559" y="6565124"/>
            <a:ext cx="1134336" cy="15385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1089325" rtl="0" eaLnBrk="1" latinLnBrk="0" hangingPunct="1">
              <a:defRPr kumimoji="1"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4466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9325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98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864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331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974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263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729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999" dirty="0">
                <a:solidFill>
                  <a:srgbClr val="FFFFFF"/>
                </a:solidFill>
                <a:latin typeface="+mj-lt"/>
                <a:ea typeface="メイリオ" pitchFamily="50" charset="-128"/>
                <a:cs typeface="メイリオ" pitchFamily="50" charset="-128"/>
              </a:rPr>
              <a:t>R&amp;D Center Europe</a:t>
            </a:r>
          </a:p>
        </p:txBody>
      </p:sp>
      <p:cxnSp>
        <p:nvCxnSpPr>
          <p:cNvPr id="6" name="直線コネクタ 20">
            <a:extLst>
              <a:ext uri="{FF2B5EF4-FFF2-40B4-BE49-F238E27FC236}">
                <a16:creationId xmlns:a16="http://schemas.microsoft.com/office/drawing/2014/main" id="{7C5DA3AF-8FEB-4FBF-A99B-445325575619}"/>
              </a:ext>
            </a:extLst>
          </p:cNvPr>
          <p:cNvCxnSpPr/>
          <p:nvPr/>
        </p:nvCxnSpPr>
        <p:spPr>
          <a:xfrm>
            <a:off x="2737166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12">
            <a:extLst>
              <a:ext uri="{FF2B5EF4-FFF2-40B4-BE49-F238E27FC236}">
                <a16:creationId xmlns:a16="http://schemas.microsoft.com/office/drawing/2014/main" id="{1FE2ABE3-54AC-48C9-BACF-3FFCBE6EEFC1}"/>
              </a:ext>
            </a:extLst>
          </p:cNvPr>
          <p:cNvGrpSpPr/>
          <p:nvPr/>
        </p:nvGrpSpPr>
        <p:grpSpPr>
          <a:xfrm>
            <a:off x="1724667" y="6539652"/>
            <a:ext cx="824326" cy="204798"/>
            <a:chOff x="3688714" y="2829719"/>
            <a:chExt cx="4824412" cy="1198244"/>
          </a:xfrm>
          <a:solidFill>
            <a:srgbClr val="003366"/>
          </a:solidFill>
        </p:grpSpPr>
        <p:sp>
          <p:nvSpPr>
            <p:cNvPr id="8" name="Grafik 3">
              <a:extLst>
                <a:ext uri="{FF2B5EF4-FFF2-40B4-BE49-F238E27FC236}">
                  <a16:creationId xmlns:a16="http://schemas.microsoft.com/office/drawing/2014/main" id="{E6052D2C-9FED-4EB8-BC64-C0436D2FB253}"/>
                </a:ext>
              </a:extLst>
            </p:cNvPr>
            <p:cNvSpPr/>
            <p:nvPr/>
          </p:nvSpPr>
          <p:spPr>
            <a:xfrm>
              <a:off x="4019231" y="2829719"/>
              <a:ext cx="567690" cy="643889"/>
            </a:xfrm>
            <a:custGeom>
              <a:avLst/>
              <a:gdLst>
                <a:gd name="connsiteX0" fmla="*/ 567690 w 567690"/>
                <a:gd name="connsiteY0" fmla="*/ 180023 h 643889"/>
                <a:gd name="connsiteX1" fmla="*/ 567690 w 567690"/>
                <a:gd name="connsiteY1" fmla="*/ 463868 h 643889"/>
                <a:gd name="connsiteX2" fmla="*/ 562928 w 567690"/>
                <a:gd name="connsiteY2" fmla="*/ 482918 h 643889"/>
                <a:gd name="connsiteX3" fmla="*/ 548640 w 567690"/>
                <a:gd name="connsiteY3" fmla="*/ 497205 h 643889"/>
                <a:gd name="connsiteX4" fmla="*/ 302895 w 567690"/>
                <a:gd name="connsiteY4" fmla="*/ 639128 h 643889"/>
                <a:gd name="connsiteX5" fmla="*/ 283845 w 567690"/>
                <a:gd name="connsiteY5" fmla="*/ 643890 h 643889"/>
                <a:gd name="connsiteX6" fmla="*/ 264795 w 567690"/>
                <a:gd name="connsiteY6" fmla="*/ 639128 h 643889"/>
                <a:gd name="connsiteX7" fmla="*/ 18098 w 567690"/>
                <a:gd name="connsiteY7" fmla="*/ 497205 h 643889"/>
                <a:gd name="connsiteX8" fmla="*/ 4763 w 567690"/>
                <a:gd name="connsiteY8" fmla="*/ 483870 h 643889"/>
                <a:gd name="connsiteX9" fmla="*/ 0 w 567690"/>
                <a:gd name="connsiteY9" fmla="*/ 464820 h 643889"/>
                <a:gd name="connsiteX10" fmla="*/ 0 w 567690"/>
                <a:gd name="connsiteY10" fmla="*/ 180023 h 643889"/>
                <a:gd name="connsiteX11" fmla="*/ 4763 w 567690"/>
                <a:gd name="connsiteY11" fmla="*/ 160973 h 643889"/>
                <a:gd name="connsiteX12" fmla="*/ 19050 w 567690"/>
                <a:gd name="connsiteY12" fmla="*/ 146685 h 643889"/>
                <a:gd name="connsiteX13" fmla="*/ 263843 w 567690"/>
                <a:gd name="connsiteY13" fmla="*/ 4763 h 643889"/>
                <a:gd name="connsiteX14" fmla="*/ 282893 w 567690"/>
                <a:gd name="connsiteY14" fmla="*/ 0 h 643889"/>
                <a:gd name="connsiteX15" fmla="*/ 301943 w 567690"/>
                <a:gd name="connsiteY15" fmla="*/ 4763 h 643889"/>
                <a:gd name="connsiteX16" fmla="*/ 547688 w 567690"/>
                <a:gd name="connsiteY16" fmla="*/ 146685 h 643889"/>
                <a:gd name="connsiteX17" fmla="*/ 561023 w 567690"/>
                <a:gd name="connsiteY17" fmla="*/ 160020 h 643889"/>
                <a:gd name="connsiteX18" fmla="*/ 567690 w 567690"/>
                <a:gd name="connsiteY18" fmla="*/ 180023 h 6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3889">
                  <a:moveTo>
                    <a:pt x="567690" y="180023"/>
                  </a:moveTo>
                  <a:lnTo>
                    <a:pt x="567690" y="463868"/>
                  </a:lnTo>
                  <a:cubicBezTo>
                    <a:pt x="567690" y="470535"/>
                    <a:pt x="565785" y="477203"/>
                    <a:pt x="562928" y="482918"/>
                  </a:cubicBezTo>
                  <a:cubicBezTo>
                    <a:pt x="559118" y="488633"/>
                    <a:pt x="554355" y="493395"/>
                    <a:pt x="548640" y="497205"/>
                  </a:cubicBezTo>
                  <a:lnTo>
                    <a:pt x="302895" y="639128"/>
                  </a:lnTo>
                  <a:cubicBezTo>
                    <a:pt x="297180" y="641985"/>
                    <a:pt x="290513" y="643890"/>
                    <a:pt x="283845" y="643890"/>
                  </a:cubicBezTo>
                  <a:cubicBezTo>
                    <a:pt x="277178" y="643890"/>
                    <a:pt x="270510" y="641985"/>
                    <a:pt x="264795" y="639128"/>
                  </a:cubicBezTo>
                  <a:lnTo>
                    <a:pt x="18098" y="497205"/>
                  </a:lnTo>
                  <a:cubicBezTo>
                    <a:pt x="12382" y="494348"/>
                    <a:pt x="7620" y="489585"/>
                    <a:pt x="4763" y="483870"/>
                  </a:cubicBezTo>
                  <a:cubicBezTo>
                    <a:pt x="953" y="478155"/>
                    <a:pt x="0" y="471488"/>
                    <a:pt x="0" y="464820"/>
                  </a:cubicBezTo>
                  <a:lnTo>
                    <a:pt x="0" y="180023"/>
                  </a:lnTo>
                  <a:cubicBezTo>
                    <a:pt x="0" y="173355"/>
                    <a:pt x="1905" y="166688"/>
                    <a:pt x="4763" y="160973"/>
                  </a:cubicBezTo>
                  <a:cubicBezTo>
                    <a:pt x="8573" y="155258"/>
                    <a:pt x="13335" y="150495"/>
                    <a:pt x="19050" y="146685"/>
                  </a:cubicBezTo>
                  <a:lnTo>
                    <a:pt x="263843" y="4763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4763"/>
                  </a:cubicBezTo>
                  <a:lnTo>
                    <a:pt x="547688" y="146685"/>
                  </a:lnTo>
                  <a:cubicBezTo>
                    <a:pt x="553403" y="149543"/>
                    <a:pt x="558165" y="154305"/>
                    <a:pt x="561023" y="160020"/>
                  </a:cubicBezTo>
                  <a:cubicBezTo>
                    <a:pt x="565785" y="167640"/>
                    <a:pt x="567690" y="173355"/>
                    <a:pt x="567690" y="18002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9" name="Grafik 3">
              <a:extLst>
                <a:ext uri="{FF2B5EF4-FFF2-40B4-BE49-F238E27FC236}">
                  <a16:creationId xmlns:a16="http://schemas.microsoft.com/office/drawing/2014/main" id="{F0E6EDF5-C0FF-4120-A09A-DEEAEC2C6ED5}"/>
                </a:ext>
              </a:extLst>
            </p:cNvPr>
            <p:cNvSpPr/>
            <p:nvPr/>
          </p:nvSpPr>
          <p:spPr>
            <a:xfrm>
              <a:off x="3688714" y="3383121"/>
              <a:ext cx="567690" cy="644842"/>
            </a:xfrm>
            <a:custGeom>
              <a:avLst/>
              <a:gdLst>
                <a:gd name="connsiteX0" fmla="*/ 567690 w 567690"/>
                <a:gd name="connsiteY0" fmla="*/ 180975 h 644842"/>
                <a:gd name="connsiteX1" fmla="*/ 567690 w 567690"/>
                <a:gd name="connsiteY1" fmla="*/ 464820 h 644842"/>
                <a:gd name="connsiteX2" fmla="*/ 562928 w 567690"/>
                <a:gd name="connsiteY2" fmla="*/ 483870 h 644842"/>
                <a:gd name="connsiteX3" fmla="*/ 548640 w 567690"/>
                <a:gd name="connsiteY3" fmla="*/ 498158 h 644842"/>
                <a:gd name="connsiteX4" fmla="*/ 302895 w 567690"/>
                <a:gd name="connsiteY4" fmla="*/ 640080 h 644842"/>
                <a:gd name="connsiteX5" fmla="*/ 283845 w 567690"/>
                <a:gd name="connsiteY5" fmla="*/ 644843 h 644842"/>
                <a:gd name="connsiteX6" fmla="*/ 264795 w 567690"/>
                <a:gd name="connsiteY6" fmla="*/ 640080 h 644842"/>
                <a:gd name="connsiteX7" fmla="*/ 18098 w 567690"/>
                <a:gd name="connsiteY7" fmla="*/ 498158 h 644842"/>
                <a:gd name="connsiteX8" fmla="*/ 4763 w 567690"/>
                <a:gd name="connsiteY8" fmla="*/ 484823 h 644842"/>
                <a:gd name="connsiteX9" fmla="*/ 0 w 567690"/>
                <a:gd name="connsiteY9" fmla="*/ 465773 h 644842"/>
                <a:gd name="connsiteX10" fmla="*/ 0 w 567690"/>
                <a:gd name="connsiteY10" fmla="*/ 180975 h 644842"/>
                <a:gd name="connsiteX11" fmla="*/ 4763 w 567690"/>
                <a:gd name="connsiteY11" fmla="*/ 161925 h 644842"/>
                <a:gd name="connsiteX12" fmla="*/ 18098 w 567690"/>
                <a:gd name="connsiteY12" fmla="*/ 147638 h 644842"/>
                <a:gd name="connsiteX13" fmla="*/ 263843 w 567690"/>
                <a:gd name="connsiteY13" fmla="*/ 5715 h 644842"/>
                <a:gd name="connsiteX14" fmla="*/ 282893 w 567690"/>
                <a:gd name="connsiteY14" fmla="*/ 0 h 644842"/>
                <a:gd name="connsiteX15" fmla="*/ 301943 w 567690"/>
                <a:gd name="connsiteY15" fmla="*/ 5715 h 644842"/>
                <a:gd name="connsiteX16" fmla="*/ 548640 w 567690"/>
                <a:gd name="connsiteY16" fmla="*/ 147638 h 644842"/>
                <a:gd name="connsiteX17" fmla="*/ 561975 w 567690"/>
                <a:gd name="connsiteY17" fmla="*/ 160973 h 644842"/>
                <a:gd name="connsiteX18" fmla="*/ 567690 w 567690"/>
                <a:gd name="connsiteY18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4842">
                  <a:moveTo>
                    <a:pt x="567690" y="180975"/>
                  </a:moveTo>
                  <a:lnTo>
                    <a:pt x="567690" y="464820"/>
                  </a:lnTo>
                  <a:cubicBezTo>
                    <a:pt x="567690" y="471488"/>
                    <a:pt x="565785" y="478155"/>
                    <a:pt x="562928" y="483870"/>
                  </a:cubicBezTo>
                  <a:cubicBezTo>
                    <a:pt x="559118" y="489585"/>
                    <a:pt x="554355" y="494348"/>
                    <a:pt x="548640" y="498158"/>
                  </a:cubicBezTo>
                  <a:lnTo>
                    <a:pt x="302895" y="640080"/>
                  </a:lnTo>
                  <a:cubicBezTo>
                    <a:pt x="297180" y="643890"/>
                    <a:pt x="290513" y="644843"/>
                    <a:pt x="283845" y="644843"/>
                  </a:cubicBezTo>
                  <a:cubicBezTo>
                    <a:pt x="277178" y="644843"/>
                    <a:pt x="270510" y="642938"/>
                    <a:pt x="264795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4823"/>
                  </a:cubicBezTo>
                  <a:cubicBezTo>
                    <a:pt x="953" y="479108"/>
                    <a:pt x="0" y="472440"/>
                    <a:pt x="0" y="465773"/>
                  </a:cubicBez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7620" y="156210"/>
                    <a:pt x="12383" y="151448"/>
                    <a:pt x="18098" y="147638"/>
                  </a:cubicBezTo>
                  <a:lnTo>
                    <a:pt x="263843" y="5715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5715"/>
                  </a:cubicBezTo>
                  <a:lnTo>
                    <a:pt x="548640" y="147638"/>
                  </a:lnTo>
                  <a:cubicBezTo>
                    <a:pt x="554355" y="150495"/>
                    <a:pt x="559118" y="155258"/>
                    <a:pt x="561975" y="160973"/>
                  </a:cubicBezTo>
                  <a:cubicBezTo>
                    <a:pt x="565785" y="167640"/>
                    <a:pt x="567690" y="174308"/>
                    <a:pt x="567690" y="1809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0" name="Grafik 3">
              <a:extLst>
                <a:ext uri="{FF2B5EF4-FFF2-40B4-BE49-F238E27FC236}">
                  <a16:creationId xmlns:a16="http://schemas.microsoft.com/office/drawing/2014/main" id="{02C3844B-B548-4C64-BC10-54663C593D4C}"/>
                </a:ext>
              </a:extLst>
            </p:cNvPr>
            <p:cNvSpPr/>
            <p:nvPr/>
          </p:nvSpPr>
          <p:spPr>
            <a:xfrm>
              <a:off x="4340224" y="3383121"/>
              <a:ext cx="566737" cy="644842"/>
            </a:xfrm>
            <a:custGeom>
              <a:avLst/>
              <a:gdLst>
                <a:gd name="connsiteX0" fmla="*/ 566738 w 566737"/>
                <a:gd name="connsiteY0" fmla="*/ 180975 h 644842"/>
                <a:gd name="connsiteX1" fmla="*/ 566738 w 566737"/>
                <a:gd name="connsiteY1" fmla="*/ 464820 h 644842"/>
                <a:gd name="connsiteX2" fmla="*/ 561975 w 566737"/>
                <a:gd name="connsiteY2" fmla="*/ 483870 h 644842"/>
                <a:gd name="connsiteX3" fmla="*/ 547688 w 566737"/>
                <a:gd name="connsiteY3" fmla="*/ 498158 h 644842"/>
                <a:gd name="connsiteX4" fmla="*/ 301942 w 566737"/>
                <a:gd name="connsiteY4" fmla="*/ 640080 h 644842"/>
                <a:gd name="connsiteX5" fmla="*/ 282892 w 566737"/>
                <a:gd name="connsiteY5" fmla="*/ 644843 h 644842"/>
                <a:gd name="connsiteX6" fmla="*/ 263842 w 566737"/>
                <a:gd name="connsiteY6" fmla="*/ 640080 h 644842"/>
                <a:gd name="connsiteX7" fmla="*/ 18098 w 566737"/>
                <a:gd name="connsiteY7" fmla="*/ 498158 h 644842"/>
                <a:gd name="connsiteX8" fmla="*/ 4763 w 566737"/>
                <a:gd name="connsiteY8" fmla="*/ 483870 h 644842"/>
                <a:gd name="connsiteX9" fmla="*/ 0 w 566737"/>
                <a:gd name="connsiteY9" fmla="*/ 464820 h 644842"/>
                <a:gd name="connsiteX10" fmla="*/ 0 w 566737"/>
                <a:gd name="connsiteY10" fmla="*/ 322898 h 644842"/>
                <a:gd name="connsiteX11" fmla="*/ 0 w 566737"/>
                <a:gd name="connsiteY11" fmla="*/ 180975 h 644842"/>
                <a:gd name="connsiteX12" fmla="*/ 4763 w 566737"/>
                <a:gd name="connsiteY12" fmla="*/ 161925 h 644842"/>
                <a:gd name="connsiteX13" fmla="*/ 19050 w 566737"/>
                <a:gd name="connsiteY13" fmla="*/ 147638 h 644842"/>
                <a:gd name="connsiteX14" fmla="*/ 264795 w 566737"/>
                <a:gd name="connsiteY14" fmla="*/ 5715 h 644842"/>
                <a:gd name="connsiteX15" fmla="*/ 283845 w 566737"/>
                <a:gd name="connsiteY15" fmla="*/ 0 h 644842"/>
                <a:gd name="connsiteX16" fmla="*/ 302895 w 566737"/>
                <a:gd name="connsiteY16" fmla="*/ 5715 h 644842"/>
                <a:gd name="connsiteX17" fmla="*/ 547688 w 566737"/>
                <a:gd name="connsiteY17" fmla="*/ 148590 h 644842"/>
                <a:gd name="connsiteX18" fmla="*/ 561023 w 566737"/>
                <a:gd name="connsiteY18" fmla="*/ 161925 h 644842"/>
                <a:gd name="connsiteX19" fmla="*/ 566738 w 566737"/>
                <a:gd name="connsiteY19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66737" h="644842">
                  <a:moveTo>
                    <a:pt x="566738" y="180975"/>
                  </a:moveTo>
                  <a:lnTo>
                    <a:pt x="566738" y="464820"/>
                  </a:lnTo>
                  <a:cubicBezTo>
                    <a:pt x="566738" y="471488"/>
                    <a:pt x="564833" y="478155"/>
                    <a:pt x="561975" y="483870"/>
                  </a:cubicBezTo>
                  <a:cubicBezTo>
                    <a:pt x="558165" y="489585"/>
                    <a:pt x="553403" y="494348"/>
                    <a:pt x="547688" y="498158"/>
                  </a:cubicBezTo>
                  <a:lnTo>
                    <a:pt x="301942" y="640080"/>
                  </a:lnTo>
                  <a:cubicBezTo>
                    <a:pt x="296228" y="643890"/>
                    <a:pt x="289560" y="644843"/>
                    <a:pt x="282892" y="644843"/>
                  </a:cubicBezTo>
                  <a:cubicBezTo>
                    <a:pt x="276225" y="644843"/>
                    <a:pt x="269558" y="642938"/>
                    <a:pt x="263842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3870"/>
                  </a:cubicBezTo>
                  <a:cubicBezTo>
                    <a:pt x="952" y="478155"/>
                    <a:pt x="0" y="471488"/>
                    <a:pt x="0" y="464820"/>
                  </a:cubicBezTo>
                  <a:lnTo>
                    <a:pt x="0" y="322898"/>
                  </a:ln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8573" y="156210"/>
                    <a:pt x="13335" y="151448"/>
                    <a:pt x="19050" y="147638"/>
                  </a:cubicBezTo>
                  <a:lnTo>
                    <a:pt x="264795" y="5715"/>
                  </a:lnTo>
                  <a:cubicBezTo>
                    <a:pt x="270510" y="2858"/>
                    <a:pt x="277178" y="0"/>
                    <a:pt x="283845" y="0"/>
                  </a:cubicBezTo>
                  <a:cubicBezTo>
                    <a:pt x="290513" y="0"/>
                    <a:pt x="297180" y="1905"/>
                    <a:pt x="302895" y="5715"/>
                  </a:cubicBezTo>
                  <a:lnTo>
                    <a:pt x="547688" y="148590"/>
                  </a:lnTo>
                  <a:cubicBezTo>
                    <a:pt x="553403" y="151448"/>
                    <a:pt x="558165" y="156210"/>
                    <a:pt x="561023" y="161925"/>
                  </a:cubicBezTo>
                  <a:cubicBezTo>
                    <a:pt x="564833" y="167640"/>
                    <a:pt x="566738" y="174308"/>
                    <a:pt x="566738" y="1809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1" name="Grafik 3">
              <a:extLst>
                <a:ext uri="{FF2B5EF4-FFF2-40B4-BE49-F238E27FC236}">
                  <a16:creationId xmlns:a16="http://schemas.microsoft.com/office/drawing/2014/main" id="{C1C83D5F-548F-4293-ACBB-3E1FAA48C4D6}"/>
                </a:ext>
              </a:extLst>
            </p:cNvPr>
            <p:cNvSpPr/>
            <p:nvPr/>
          </p:nvSpPr>
          <p:spPr>
            <a:xfrm>
              <a:off x="6739571" y="2990691"/>
              <a:ext cx="1374457" cy="878204"/>
            </a:xfrm>
            <a:custGeom>
              <a:avLst/>
              <a:gdLst>
                <a:gd name="connsiteX0" fmla="*/ 239078 w 1374457"/>
                <a:gd name="connsiteY0" fmla="*/ 635318 h 878204"/>
                <a:gd name="connsiteX1" fmla="*/ 244793 w 1374457"/>
                <a:gd name="connsiteY1" fmla="*/ 679133 h 878204"/>
                <a:gd name="connsiteX2" fmla="*/ 262890 w 1374457"/>
                <a:gd name="connsiteY2" fmla="*/ 717233 h 878204"/>
                <a:gd name="connsiteX3" fmla="*/ 294322 w 1374457"/>
                <a:gd name="connsiteY3" fmla="*/ 744855 h 878204"/>
                <a:gd name="connsiteX4" fmla="*/ 340995 w 1374457"/>
                <a:gd name="connsiteY4" fmla="*/ 755333 h 878204"/>
                <a:gd name="connsiteX5" fmla="*/ 1374458 w 1374457"/>
                <a:gd name="connsiteY5" fmla="*/ 755333 h 878204"/>
                <a:gd name="connsiteX6" fmla="*/ 1374458 w 1374457"/>
                <a:gd name="connsiteY6" fmla="*/ 878205 h 878204"/>
                <a:gd name="connsiteX7" fmla="*/ 258128 w 1374457"/>
                <a:gd name="connsiteY7" fmla="*/ 878205 h 878204"/>
                <a:gd name="connsiteX8" fmla="*/ 140018 w 1374457"/>
                <a:gd name="connsiteY8" fmla="*/ 858203 h 878204"/>
                <a:gd name="connsiteX9" fmla="*/ 60008 w 1374457"/>
                <a:gd name="connsiteY9" fmla="*/ 805815 h 878204"/>
                <a:gd name="connsiteX10" fmla="*/ 14288 w 1374457"/>
                <a:gd name="connsiteY10" fmla="*/ 728663 h 878204"/>
                <a:gd name="connsiteX11" fmla="*/ 0 w 1374457"/>
                <a:gd name="connsiteY11" fmla="*/ 636270 h 878204"/>
                <a:gd name="connsiteX12" fmla="*/ 0 w 1374457"/>
                <a:gd name="connsiteY12" fmla="*/ 0 h 878204"/>
                <a:gd name="connsiteX13" fmla="*/ 238125 w 1374457"/>
                <a:gd name="connsiteY13" fmla="*/ 0 h 878204"/>
                <a:gd name="connsiteX14" fmla="*/ 238125 w 1374457"/>
                <a:gd name="connsiteY14" fmla="*/ 635318 h 878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4457" h="878204">
                  <a:moveTo>
                    <a:pt x="239078" y="635318"/>
                  </a:moveTo>
                  <a:cubicBezTo>
                    <a:pt x="239078" y="649605"/>
                    <a:pt x="240983" y="664845"/>
                    <a:pt x="244793" y="679133"/>
                  </a:cubicBezTo>
                  <a:cubicBezTo>
                    <a:pt x="248603" y="693420"/>
                    <a:pt x="254318" y="705803"/>
                    <a:pt x="262890" y="717233"/>
                  </a:cubicBezTo>
                  <a:cubicBezTo>
                    <a:pt x="270510" y="728663"/>
                    <a:pt x="280988" y="737235"/>
                    <a:pt x="294322" y="744855"/>
                  </a:cubicBezTo>
                  <a:cubicBezTo>
                    <a:pt x="307658" y="751523"/>
                    <a:pt x="322897" y="755333"/>
                    <a:pt x="340995" y="755333"/>
                  </a:cubicBezTo>
                  <a:lnTo>
                    <a:pt x="1374458" y="755333"/>
                  </a:lnTo>
                  <a:lnTo>
                    <a:pt x="1374458" y="878205"/>
                  </a:lnTo>
                  <a:lnTo>
                    <a:pt x="258128" y="878205"/>
                  </a:lnTo>
                  <a:cubicBezTo>
                    <a:pt x="212408" y="878205"/>
                    <a:pt x="173355" y="871538"/>
                    <a:pt x="140018" y="858203"/>
                  </a:cubicBezTo>
                  <a:cubicBezTo>
                    <a:pt x="107633" y="845820"/>
                    <a:pt x="80963" y="827723"/>
                    <a:pt x="60008" y="805815"/>
                  </a:cubicBezTo>
                  <a:cubicBezTo>
                    <a:pt x="39053" y="782955"/>
                    <a:pt x="24765" y="757238"/>
                    <a:pt x="14288" y="728663"/>
                  </a:cubicBezTo>
                  <a:cubicBezTo>
                    <a:pt x="4763" y="700088"/>
                    <a:pt x="0" y="668655"/>
                    <a:pt x="0" y="636270"/>
                  </a:cubicBezTo>
                  <a:lnTo>
                    <a:pt x="0" y="0"/>
                  </a:lnTo>
                  <a:lnTo>
                    <a:pt x="238125" y="0"/>
                  </a:lnTo>
                  <a:lnTo>
                    <a:pt x="238125" y="63531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2" name="Grafik 3">
              <a:extLst>
                <a:ext uri="{FF2B5EF4-FFF2-40B4-BE49-F238E27FC236}">
                  <a16:creationId xmlns:a16="http://schemas.microsoft.com/office/drawing/2014/main" id="{DBC96381-1CC0-4D3E-97B3-DAAB3353673C}"/>
                </a:ext>
              </a:extLst>
            </p:cNvPr>
            <p:cNvSpPr/>
            <p:nvPr/>
          </p:nvSpPr>
          <p:spPr>
            <a:xfrm>
              <a:off x="5157469" y="2990691"/>
              <a:ext cx="1374457" cy="879157"/>
            </a:xfrm>
            <a:custGeom>
              <a:avLst/>
              <a:gdLst>
                <a:gd name="connsiteX0" fmla="*/ 239077 w 1374457"/>
                <a:gd name="connsiteY0" fmla="*/ 241935 h 879157"/>
                <a:gd name="connsiteX1" fmla="*/ 244792 w 1374457"/>
                <a:gd name="connsiteY1" fmla="*/ 198120 h 879157"/>
                <a:gd name="connsiteX2" fmla="*/ 262890 w 1374457"/>
                <a:gd name="connsiteY2" fmla="*/ 160020 h 879157"/>
                <a:gd name="connsiteX3" fmla="*/ 294322 w 1374457"/>
                <a:gd name="connsiteY3" fmla="*/ 132398 h 879157"/>
                <a:gd name="connsiteX4" fmla="*/ 340995 w 1374457"/>
                <a:gd name="connsiteY4" fmla="*/ 121920 h 879157"/>
                <a:gd name="connsiteX5" fmla="*/ 1374458 w 1374457"/>
                <a:gd name="connsiteY5" fmla="*/ 121920 h 879157"/>
                <a:gd name="connsiteX6" fmla="*/ 1374458 w 1374457"/>
                <a:gd name="connsiteY6" fmla="*/ 0 h 879157"/>
                <a:gd name="connsiteX7" fmla="*/ 258127 w 1374457"/>
                <a:gd name="connsiteY7" fmla="*/ 0 h 879157"/>
                <a:gd name="connsiteX8" fmla="*/ 140017 w 1374457"/>
                <a:gd name="connsiteY8" fmla="*/ 20003 h 879157"/>
                <a:gd name="connsiteX9" fmla="*/ 60008 w 1374457"/>
                <a:gd name="connsiteY9" fmla="*/ 72390 h 879157"/>
                <a:gd name="connsiteX10" fmla="*/ 14288 w 1374457"/>
                <a:gd name="connsiteY10" fmla="*/ 149542 h 879157"/>
                <a:gd name="connsiteX11" fmla="*/ 0 w 1374457"/>
                <a:gd name="connsiteY11" fmla="*/ 241935 h 879157"/>
                <a:gd name="connsiteX12" fmla="*/ 0 w 1374457"/>
                <a:gd name="connsiteY12" fmla="*/ 258128 h 879157"/>
                <a:gd name="connsiteX13" fmla="*/ 14288 w 1374457"/>
                <a:gd name="connsiteY13" fmla="*/ 350520 h 879157"/>
                <a:gd name="connsiteX14" fmla="*/ 60008 w 1374457"/>
                <a:gd name="connsiteY14" fmla="*/ 427673 h 879157"/>
                <a:gd name="connsiteX15" fmla="*/ 140017 w 1374457"/>
                <a:gd name="connsiteY15" fmla="*/ 480060 h 879157"/>
                <a:gd name="connsiteX16" fmla="*/ 258127 w 1374457"/>
                <a:gd name="connsiteY16" fmla="*/ 500063 h 879157"/>
                <a:gd name="connsiteX17" fmla="*/ 1034415 w 1374457"/>
                <a:gd name="connsiteY17" fmla="*/ 500063 h 879157"/>
                <a:gd name="connsiteX18" fmla="*/ 1081087 w 1374457"/>
                <a:gd name="connsiteY18" fmla="*/ 510540 h 879157"/>
                <a:gd name="connsiteX19" fmla="*/ 1112520 w 1374457"/>
                <a:gd name="connsiteY19" fmla="*/ 538163 h 879157"/>
                <a:gd name="connsiteX20" fmla="*/ 1130618 w 1374457"/>
                <a:gd name="connsiteY20" fmla="*/ 576263 h 879157"/>
                <a:gd name="connsiteX21" fmla="*/ 1136333 w 1374457"/>
                <a:gd name="connsiteY21" fmla="*/ 620078 h 879157"/>
                <a:gd name="connsiteX22" fmla="*/ 1136333 w 1374457"/>
                <a:gd name="connsiteY22" fmla="*/ 636270 h 879157"/>
                <a:gd name="connsiteX23" fmla="*/ 1130618 w 1374457"/>
                <a:gd name="connsiteY23" fmla="*/ 680085 h 879157"/>
                <a:gd name="connsiteX24" fmla="*/ 1112520 w 1374457"/>
                <a:gd name="connsiteY24" fmla="*/ 718185 h 879157"/>
                <a:gd name="connsiteX25" fmla="*/ 1081087 w 1374457"/>
                <a:gd name="connsiteY25" fmla="*/ 745808 h 879157"/>
                <a:gd name="connsiteX26" fmla="*/ 1034415 w 1374457"/>
                <a:gd name="connsiteY26" fmla="*/ 756285 h 879157"/>
                <a:gd name="connsiteX27" fmla="*/ 952 w 1374457"/>
                <a:gd name="connsiteY27" fmla="*/ 756285 h 879157"/>
                <a:gd name="connsiteX28" fmla="*/ 952 w 1374457"/>
                <a:gd name="connsiteY28" fmla="*/ 879158 h 879157"/>
                <a:gd name="connsiteX29" fmla="*/ 1116330 w 1374457"/>
                <a:gd name="connsiteY29" fmla="*/ 879158 h 879157"/>
                <a:gd name="connsiteX30" fmla="*/ 1234440 w 1374457"/>
                <a:gd name="connsiteY30" fmla="*/ 859155 h 879157"/>
                <a:gd name="connsiteX31" fmla="*/ 1314450 w 1374457"/>
                <a:gd name="connsiteY31" fmla="*/ 806768 h 879157"/>
                <a:gd name="connsiteX32" fmla="*/ 1360170 w 1374457"/>
                <a:gd name="connsiteY32" fmla="*/ 729615 h 879157"/>
                <a:gd name="connsiteX33" fmla="*/ 1374458 w 1374457"/>
                <a:gd name="connsiteY33" fmla="*/ 637223 h 879157"/>
                <a:gd name="connsiteX34" fmla="*/ 1374458 w 1374457"/>
                <a:gd name="connsiteY34" fmla="*/ 621030 h 879157"/>
                <a:gd name="connsiteX35" fmla="*/ 1360170 w 1374457"/>
                <a:gd name="connsiteY35" fmla="*/ 528638 h 879157"/>
                <a:gd name="connsiteX36" fmla="*/ 1314450 w 1374457"/>
                <a:gd name="connsiteY36" fmla="*/ 451485 h 879157"/>
                <a:gd name="connsiteX37" fmla="*/ 1234440 w 1374457"/>
                <a:gd name="connsiteY37" fmla="*/ 399098 h 879157"/>
                <a:gd name="connsiteX38" fmla="*/ 1116330 w 1374457"/>
                <a:gd name="connsiteY38" fmla="*/ 379095 h 879157"/>
                <a:gd name="connsiteX39" fmla="*/ 340042 w 1374457"/>
                <a:gd name="connsiteY39" fmla="*/ 379095 h 879157"/>
                <a:gd name="connsiteX40" fmla="*/ 293370 w 1374457"/>
                <a:gd name="connsiteY40" fmla="*/ 368618 h 879157"/>
                <a:gd name="connsiteX41" fmla="*/ 261938 w 1374457"/>
                <a:gd name="connsiteY41" fmla="*/ 340995 h 879157"/>
                <a:gd name="connsiteX42" fmla="*/ 243840 w 1374457"/>
                <a:gd name="connsiteY42" fmla="*/ 302895 h 879157"/>
                <a:gd name="connsiteX43" fmla="*/ 238125 w 1374457"/>
                <a:gd name="connsiteY43" fmla="*/ 259080 h 879157"/>
                <a:gd name="connsiteX44" fmla="*/ 238125 w 1374457"/>
                <a:gd name="connsiteY44" fmla="*/ 241935 h 87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74457" h="879157">
                  <a:moveTo>
                    <a:pt x="239077" y="241935"/>
                  </a:moveTo>
                  <a:cubicBezTo>
                    <a:pt x="239077" y="226695"/>
                    <a:pt x="240983" y="212408"/>
                    <a:pt x="244792" y="198120"/>
                  </a:cubicBezTo>
                  <a:cubicBezTo>
                    <a:pt x="248602" y="183833"/>
                    <a:pt x="254317" y="171450"/>
                    <a:pt x="262890" y="160020"/>
                  </a:cubicBezTo>
                  <a:cubicBezTo>
                    <a:pt x="270510" y="148590"/>
                    <a:pt x="281940" y="140018"/>
                    <a:pt x="294322" y="132398"/>
                  </a:cubicBezTo>
                  <a:cubicBezTo>
                    <a:pt x="307658" y="125730"/>
                    <a:pt x="322897" y="121920"/>
                    <a:pt x="340995" y="121920"/>
                  </a:cubicBezTo>
                  <a:lnTo>
                    <a:pt x="1374458" y="121920"/>
                  </a:lnTo>
                  <a:lnTo>
                    <a:pt x="1374458" y="0"/>
                  </a:lnTo>
                  <a:lnTo>
                    <a:pt x="258127" y="0"/>
                  </a:lnTo>
                  <a:cubicBezTo>
                    <a:pt x="212408" y="0"/>
                    <a:pt x="173355" y="6668"/>
                    <a:pt x="140017" y="20003"/>
                  </a:cubicBezTo>
                  <a:cubicBezTo>
                    <a:pt x="107633" y="32385"/>
                    <a:pt x="80963" y="50483"/>
                    <a:pt x="60008" y="72390"/>
                  </a:cubicBezTo>
                  <a:cubicBezTo>
                    <a:pt x="39052" y="95250"/>
                    <a:pt x="24765" y="120968"/>
                    <a:pt x="14288" y="149542"/>
                  </a:cubicBezTo>
                  <a:cubicBezTo>
                    <a:pt x="4763" y="178117"/>
                    <a:pt x="0" y="209550"/>
                    <a:pt x="0" y="241935"/>
                  </a:cubicBezTo>
                  <a:lnTo>
                    <a:pt x="0" y="258128"/>
                  </a:lnTo>
                  <a:cubicBezTo>
                    <a:pt x="0" y="290513"/>
                    <a:pt x="4763" y="321945"/>
                    <a:pt x="14288" y="350520"/>
                  </a:cubicBezTo>
                  <a:cubicBezTo>
                    <a:pt x="23813" y="379095"/>
                    <a:pt x="39052" y="404813"/>
                    <a:pt x="60008" y="427673"/>
                  </a:cubicBezTo>
                  <a:cubicBezTo>
                    <a:pt x="80963" y="449580"/>
                    <a:pt x="107633" y="467678"/>
                    <a:pt x="140017" y="480060"/>
                  </a:cubicBezTo>
                  <a:cubicBezTo>
                    <a:pt x="172402" y="493395"/>
                    <a:pt x="212408" y="499110"/>
                    <a:pt x="258127" y="500063"/>
                  </a:cubicBezTo>
                  <a:cubicBezTo>
                    <a:pt x="526733" y="500063"/>
                    <a:pt x="765810" y="500063"/>
                    <a:pt x="1034415" y="500063"/>
                  </a:cubicBezTo>
                  <a:cubicBezTo>
                    <a:pt x="1052512" y="500063"/>
                    <a:pt x="1067752" y="503873"/>
                    <a:pt x="1081087" y="510540"/>
                  </a:cubicBezTo>
                  <a:cubicBezTo>
                    <a:pt x="1093470" y="517207"/>
                    <a:pt x="1104900" y="526733"/>
                    <a:pt x="1112520" y="538163"/>
                  </a:cubicBezTo>
                  <a:cubicBezTo>
                    <a:pt x="1120140" y="549593"/>
                    <a:pt x="1126808" y="561975"/>
                    <a:pt x="1130618" y="576263"/>
                  </a:cubicBezTo>
                  <a:cubicBezTo>
                    <a:pt x="1134427" y="590550"/>
                    <a:pt x="1136333" y="604838"/>
                    <a:pt x="1136333" y="620078"/>
                  </a:cubicBezTo>
                  <a:lnTo>
                    <a:pt x="1136333" y="636270"/>
                  </a:lnTo>
                  <a:cubicBezTo>
                    <a:pt x="1136333" y="650558"/>
                    <a:pt x="1134427" y="665798"/>
                    <a:pt x="1130618" y="680085"/>
                  </a:cubicBezTo>
                  <a:cubicBezTo>
                    <a:pt x="1126808" y="694373"/>
                    <a:pt x="1121093" y="706755"/>
                    <a:pt x="1112520" y="718185"/>
                  </a:cubicBezTo>
                  <a:cubicBezTo>
                    <a:pt x="1104900" y="729615"/>
                    <a:pt x="1093470" y="738188"/>
                    <a:pt x="1081087" y="745808"/>
                  </a:cubicBezTo>
                  <a:cubicBezTo>
                    <a:pt x="1067752" y="752475"/>
                    <a:pt x="1052512" y="756285"/>
                    <a:pt x="1034415" y="756285"/>
                  </a:cubicBezTo>
                  <a:lnTo>
                    <a:pt x="952" y="756285"/>
                  </a:lnTo>
                  <a:lnTo>
                    <a:pt x="952" y="879158"/>
                  </a:lnTo>
                  <a:lnTo>
                    <a:pt x="1116330" y="879158"/>
                  </a:lnTo>
                  <a:cubicBezTo>
                    <a:pt x="1162050" y="879158"/>
                    <a:pt x="1201102" y="872490"/>
                    <a:pt x="1234440" y="859155"/>
                  </a:cubicBezTo>
                  <a:cubicBezTo>
                    <a:pt x="1266825" y="846773"/>
                    <a:pt x="1293495" y="828675"/>
                    <a:pt x="1314450" y="806768"/>
                  </a:cubicBezTo>
                  <a:cubicBezTo>
                    <a:pt x="1335405" y="783908"/>
                    <a:pt x="1349693" y="758190"/>
                    <a:pt x="1360170" y="729615"/>
                  </a:cubicBezTo>
                  <a:cubicBezTo>
                    <a:pt x="1369695" y="701040"/>
                    <a:pt x="1374458" y="669608"/>
                    <a:pt x="1374458" y="637223"/>
                  </a:cubicBezTo>
                  <a:lnTo>
                    <a:pt x="1374458" y="621030"/>
                  </a:lnTo>
                  <a:cubicBezTo>
                    <a:pt x="1374458" y="588645"/>
                    <a:pt x="1369695" y="557213"/>
                    <a:pt x="1360170" y="528638"/>
                  </a:cubicBezTo>
                  <a:cubicBezTo>
                    <a:pt x="1350645" y="500063"/>
                    <a:pt x="1335405" y="474345"/>
                    <a:pt x="1314450" y="451485"/>
                  </a:cubicBezTo>
                  <a:cubicBezTo>
                    <a:pt x="1293495" y="429578"/>
                    <a:pt x="1266825" y="411480"/>
                    <a:pt x="1234440" y="399098"/>
                  </a:cubicBezTo>
                  <a:cubicBezTo>
                    <a:pt x="1202055" y="385763"/>
                    <a:pt x="1163002" y="380048"/>
                    <a:pt x="1116330" y="379095"/>
                  </a:cubicBezTo>
                  <a:cubicBezTo>
                    <a:pt x="847725" y="379095"/>
                    <a:pt x="608647" y="379095"/>
                    <a:pt x="340042" y="379095"/>
                  </a:cubicBezTo>
                  <a:cubicBezTo>
                    <a:pt x="321945" y="379095"/>
                    <a:pt x="306705" y="375285"/>
                    <a:pt x="293370" y="368618"/>
                  </a:cubicBezTo>
                  <a:cubicBezTo>
                    <a:pt x="280988" y="361950"/>
                    <a:pt x="270510" y="352425"/>
                    <a:pt x="261938" y="340995"/>
                  </a:cubicBezTo>
                  <a:cubicBezTo>
                    <a:pt x="254317" y="329565"/>
                    <a:pt x="247650" y="317183"/>
                    <a:pt x="243840" y="302895"/>
                  </a:cubicBezTo>
                  <a:cubicBezTo>
                    <a:pt x="240030" y="288608"/>
                    <a:pt x="238125" y="274320"/>
                    <a:pt x="238125" y="259080"/>
                  </a:cubicBezTo>
                  <a:lnTo>
                    <a:pt x="238125" y="24193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3" name="Grafik 3">
              <a:extLst>
                <a:ext uri="{FF2B5EF4-FFF2-40B4-BE49-F238E27FC236}">
                  <a16:creationId xmlns:a16="http://schemas.microsoft.com/office/drawing/2014/main" id="{51EFAA1F-C4A0-4DF8-91C4-9047172AE376}"/>
                </a:ext>
              </a:extLst>
            </p:cNvPr>
            <p:cNvSpPr/>
            <p:nvPr/>
          </p:nvSpPr>
          <p:spPr>
            <a:xfrm>
              <a:off x="8043544" y="2990691"/>
              <a:ext cx="469582" cy="876300"/>
            </a:xfrm>
            <a:custGeom>
              <a:avLst/>
              <a:gdLst>
                <a:gd name="connsiteX0" fmla="*/ 231458 w 469582"/>
                <a:gd name="connsiteY0" fmla="*/ 241935 h 876300"/>
                <a:gd name="connsiteX1" fmla="*/ 225743 w 469582"/>
                <a:gd name="connsiteY1" fmla="*/ 198120 h 876300"/>
                <a:gd name="connsiteX2" fmla="*/ 207645 w 469582"/>
                <a:gd name="connsiteY2" fmla="*/ 160020 h 876300"/>
                <a:gd name="connsiteX3" fmla="*/ 176213 w 469582"/>
                <a:gd name="connsiteY3" fmla="*/ 132398 h 876300"/>
                <a:gd name="connsiteX4" fmla="*/ 129540 w 469582"/>
                <a:gd name="connsiteY4" fmla="*/ 121920 h 876300"/>
                <a:gd name="connsiteX5" fmla="*/ 0 w 469582"/>
                <a:gd name="connsiteY5" fmla="*/ 121920 h 876300"/>
                <a:gd name="connsiteX6" fmla="*/ 0 w 469582"/>
                <a:gd name="connsiteY6" fmla="*/ 0 h 876300"/>
                <a:gd name="connsiteX7" fmla="*/ 211455 w 469582"/>
                <a:gd name="connsiteY7" fmla="*/ 0 h 876300"/>
                <a:gd name="connsiteX8" fmla="*/ 329565 w 469582"/>
                <a:gd name="connsiteY8" fmla="*/ 20003 h 876300"/>
                <a:gd name="connsiteX9" fmla="*/ 409575 w 469582"/>
                <a:gd name="connsiteY9" fmla="*/ 72390 h 876300"/>
                <a:gd name="connsiteX10" fmla="*/ 455295 w 469582"/>
                <a:gd name="connsiteY10" fmla="*/ 149542 h 876300"/>
                <a:gd name="connsiteX11" fmla="*/ 469583 w 469582"/>
                <a:gd name="connsiteY11" fmla="*/ 241935 h 876300"/>
                <a:gd name="connsiteX12" fmla="*/ 469583 w 469582"/>
                <a:gd name="connsiteY12" fmla="*/ 876300 h 876300"/>
                <a:gd name="connsiteX13" fmla="*/ 231458 w 469582"/>
                <a:gd name="connsiteY13" fmla="*/ 876300 h 876300"/>
                <a:gd name="connsiteX14" fmla="*/ 231458 w 469582"/>
                <a:gd name="connsiteY14" fmla="*/ 241935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9582" h="876300">
                  <a:moveTo>
                    <a:pt x="231458" y="241935"/>
                  </a:moveTo>
                  <a:cubicBezTo>
                    <a:pt x="231458" y="226695"/>
                    <a:pt x="229553" y="212408"/>
                    <a:pt x="225743" y="198120"/>
                  </a:cubicBezTo>
                  <a:cubicBezTo>
                    <a:pt x="221933" y="183833"/>
                    <a:pt x="216218" y="171450"/>
                    <a:pt x="207645" y="160020"/>
                  </a:cubicBezTo>
                  <a:cubicBezTo>
                    <a:pt x="200025" y="148590"/>
                    <a:pt x="188595" y="140018"/>
                    <a:pt x="176213" y="132398"/>
                  </a:cubicBezTo>
                  <a:cubicBezTo>
                    <a:pt x="162878" y="125730"/>
                    <a:pt x="147638" y="121920"/>
                    <a:pt x="129540" y="121920"/>
                  </a:cubicBezTo>
                  <a:lnTo>
                    <a:pt x="0" y="121920"/>
                  </a:lnTo>
                  <a:lnTo>
                    <a:pt x="0" y="0"/>
                  </a:lnTo>
                  <a:lnTo>
                    <a:pt x="211455" y="0"/>
                  </a:lnTo>
                  <a:cubicBezTo>
                    <a:pt x="257175" y="0"/>
                    <a:pt x="296228" y="6668"/>
                    <a:pt x="329565" y="20003"/>
                  </a:cubicBezTo>
                  <a:cubicBezTo>
                    <a:pt x="361950" y="32385"/>
                    <a:pt x="388620" y="50483"/>
                    <a:pt x="409575" y="72390"/>
                  </a:cubicBezTo>
                  <a:cubicBezTo>
                    <a:pt x="430530" y="95250"/>
                    <a:pt x="444818" y="120968"/>
                    <a:pt x="455295" y="149542"/>
                  </a:cubicBezTo>
                  <a:cubicBezTo>
                    <a:pt x="464820" y="178117"/>
                    <a:pt x="469583" y="209550"/>
                    <a:pt x="469583" y="241935"/>
                  </a:cubicBezTo>
                  <a:lnTo>
                    <a:pt x="469583" y="876300"/>
                  </a:lnTo>
                  <a:lnTo>
                    <a:pt x="231458" y="876300"/>
                  </a:lnTo>
                  <a:lnTo>
                    <a:pt x="231458" y="24193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</p:grpSp>
      <p:cxnSp>
        <p:nvCxnSpPr>
          <p:cNvPr id="14" name="直線コネクタ 20">
            <a:extLst>
              <a:ext uri="{FF2B5EF4-FFF2-40B4-BE49-F238E27FC236}">
                <a16:creationId xmlns:a16="http://schemas.microsoft.com/office/drawing/2014/main" id="{5E678E10-1322-4E57-BAC8-D83517089865}"/>
              </a:ext>
            </a:extLst>
          </p:cNvPr>
          <p:cNvCxnSpPr/>
          <p:nvPr/>
        </p:nvCxnSpPr>
        <p:spPr>
          <a:xfrm>
            <a:off x="4146133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2">
            <a:extLst>
              <a:ext uri="{FF2B5EF4-FFF2-40B4-BE49-F238E27FC236}">
                <a16:creationId xmlns:a16="http://schemas.microsoft.com/office/drawing/2014/main" id="{1D420B72-C87E-464D-9E27-433A0CB0E7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11" y="6518091"/>
            <a:ext cx="1047968" cy="26206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017A968-F4DB-4188-9EAB-9C18EE172926}"/>
              </a:ext>
            </a:extLst>
          </p:cNvPr>
          <p:cNvSpPr txBox="1"/>
          <p:nvPr/>
        </p:nvSpPr>
        <p:spPr>
          <a:xfrm>
            <a:off x="4304405" y="6565124"/>
            <a:ext cx="1009367" cy="15385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indent="0" algn="l" defTabSz="914126" eaLnBrk="0" hangingPunct="0">
              <a:lnSpc>
                <a:spcPct val="100000"/>
              </a:lnSpc>
              <a:spcBef>
                <a:spcPts val="0"/>
              </a:spcBef>
              <a:buClr>
                <a:srgbClr val="003366"/>
              </a:buClr>
              <a:buSzPct val="100000"/>
              <a:buFontTx/>
              <a:buNone/>
            </a:pPr>
            <a:fld id="{1EBF441E-4961-49F4-A3C1-D6120246FD6D}" type="slidenum">
              <a:rPr kumimoji="0" lang="de-DE" sz="999" smtClean="0">
                <a:solidFill>
                  <a:srgbClr val="FFFFFF"/>
                </a:solidFill>
                <a:latin typeface="+mn-lt"/>
                <a:ea typeface="ＭＳ Ｐゴシック"/>
              </a:rPr>
              <a:pPr marL="0" indent="0" algn="l" defTabSz="914126" eaLnBrk="0" hangingPunct="0">
                <a:lnSpc>
                  <a:spcPct val="100000"/>
                </a:lnSpc>
                <a:spcBef>
                  <a:spcPts val="0"/>
                </a:spcBef>
                <a:buClr>
                  <a:srgbClr val="003366"/>
                </a:buClr>
                <a:buSzPct val="100000"/>
                <a:buFontTx/>
                <a:buNone/>
              </a:pPr>
              <a:t>‹#›</a:t>
            </a:fld>
            <a:endParaRPr kumimoji="0" lang="de-DE" sz="999" dirty="0">
              <a:solidFill>
                <a:srgbClr val="FFFFFF"/>
              </a:solidFill>
              <a:latin typeface="+mn-lt"/>
              <a:ea typeface="ＭＳ Ｐゴシック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9545B1-4A93-42F6-8779-B4406629F4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122" y="3723057"/>
            <a:ext cx="11335201" cy="3077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 Subtitle</a:t>
            </a:r>
          </a:p>
        </p:txBody>
      </p:sp>
    </p:spTree>
    <p:extLst>
      <p:ext uri="{BB962C8B-B14F-4D97-AF65-F5344CB8AC3E}">
        <p14:creationId xmlns:p14="http://schemas.microsoft.com/office/powerpoint/2010/main" val="2832768492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56798DA-AAC6-47A3-BE8C-B938F3CBFB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191349"/>
              </p:ext>
            </p:ext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1" imgH="298" progId="TCLayout.ActiveDocument.1">
                  <p:embed/>
                </p:oleObj>
              </mc:Choice>
              <mc:Fallback>
                <p:oleObj name="think-cell Folie" r:id="rId3" imgW="301" imgH="29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56798DA-AAC6-47A3-BE8C-B938F3CBF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88D68E-18DA-4A76-AE18-C80B0E2C8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30052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_Bl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7192556-69BF-4344-A94E-BB2B4804D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802614"/>
              </p:ext>
            </p:ext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1" imgH="298" progId="TCLayout.ActiveDocument.1">
                  <p:embed/>
                </p:oleObj>
              </mc:Choice>
              <mc:Fallback>
                <p:oleObj name="think-cell Folie" r:id="rId3" imgW="301" imgH="29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7192556-69BF-4344-A94E-BB2B4804D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:a16="http://schemas.microsoft.com/office/drawing/2014/main" id="{81B08DE9-B043-4DA3-9C40-B081C103BE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" y="1"/>
            <a:ext cx="6099174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888D68E-18DA-4A76-AE18-C80B0E2C8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0" name="直線コネクタ 20">
            <a:extLst>
              <a:ext uri="{FF2B5EF4-FFF2-40B4-BE49-F238E27FC236}">
                <a16:creationId xmlns:a16="http://schemas.microsoft.com/office/drawing/2014/main" id="{32604142-8618-42AD-A236-950A3F1CE842}"/>
              </a:ext>
            </a:extLst>
          </p:cNvPr>
          <p:cNvCxnSpPr/>
          <p:nvPr/>
        </p:nvCxnSpPr>
        <p:spPr>
          <a:xfrm>
            <a:off x="1546821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フッター プレースホルダー 3">
            <a:extLst>
              <a:ext uri="{FF2B5EF4-FFF2-40B4-BE49-F238E27FC236}">
                <a16:creationId xmlns:a16="http://schemas.microsoft.com/office/drawing/2014/main" id="{A7081127-0940-4136-BF14-F72D1DE9947D}"/>
              </a:ext>
            </a:extLst>
          </p:cNvPr>
          <p:cNvSpPr txBox="1">
            <a:spLocks/>
          </p:cNvSpPr>
          <p:nvPr/>
        </p:nvSpPr>
        <p:spPr>
          <a:xfrm>
            <a:off x="2888559" y="6565124"/>
            <a:ext cx="1134336" cy="15385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1089325" rtl="0" eaLnBrk="1" latinLnBrk="0" hangingPunct="1">
              <a:defRPr kumimoji="1"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4466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9325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98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864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331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974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263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729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999" dirty="0">
                <a:solidFill>
                  <a:srgbClr val="FFFFFF"/>
                </a:solidFill>
                <a:latin typeface="+mj-lt"/>
                <a:ea typeface="メイリオ" pitchFamily="50" charset="-128"/>
                <a:cs typeface="メイリオ" pitchFamily="50" charset="-128"/>
              </a:rPr>
              <a:t>R&amp;D Center Europe</a:t>
            </a:r>
          </a:p>
        </p:txBody>
      </p:sp>
      <p:cxnSp>
        <p:nvCxnSpPr>
          <p:cNvPr id="12" name="直線コネクタ 20">
            <a:extLst>
              <a:ext uri="{FF2B5EF4-FFF2-40B4-BE49-F238E27FC236}">
                <a16:creationId xmlns:a16="http://schemas.microsoft.com/office/drawing/2014/main" id="{FA9CDE76-8256-46C4-B458-0E8857461091}"/>
              </a:ext>
            </a:extLst>
          </p:cNvPr>
          <p:cNvCxnSpPr/>
          <p:nvPr/>
        </p:nvCxnSpPr>
        <p:spPr>
          <a:xfrm>
            <a:off x="2737166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C1F1B6E-67B4-4E9E-A855-3FCBB84D5EF1}"/>
              </a:ext>
            </a:extLst>
          </p:cNvPr>
          <p:cNvGrpSpPr/>
          <p:nvPr/>
        </p:nvGrpSpPr>
        <p:grpSpPr>
          <a:xfrm>
            <a:off x="1724667" y="6539652"/>
            <a:ext cx="824326" cy="204798"/>
            <a:chOff x="3688714" y="2829719"/>
            <a:chExt cx="4824412" cy="1198244"/>
          </a:xfrm>
          <a:solidFill>
            <a:srgbClr val="003366"/>
          </a:solidFill>
        </p:grpSpPr>
        <p:sp>
          <p:nvSpPr>
            <p:cNvPr id="14" name="Grafik 3">
              <a:extLst>
                <a:ext uri="{FF2B5EF4-FFF2-40B4-BE49-F238E27FC236}">
                  <a16:creationId xmlns:a16="http://schemas.microsoft.com/office/drawing/2014/main" id="{BD23C64E-B10D-4D4E-A280-B8E27FEF963A}"/>
                </a:ext>
              </a:extLst>
            </p:cNvPr>
            <p:cNvSpPr/>
            <p:nvPr/>
          </p:nvSpPr>
          <p:spPr>
            <a:xfrm>
              <a:off x="4019231" y="2829719"/>
              <a:ext cx="567690" cy="643889"/>
            </a:xfrm>
            <a:custGeom>
              <a:avLst/>
              <a:gdLst>
                <a:gd name="connsiteX0" fmla="*/ 567690 w 567690"/>
                <a:gd name="connsiteY0" fmla="*/ 180023 h 643889"/>
                <a:gd name="connsiteX1" fmla="*/ 567690 w 567690"/>
                <a:gd name="connsiteY1" fmla="*/ 463868 h 643889"/>
                <a:gd name="connsiteX2" fmla="*/ 562928 w 567690"/>
                <a:gd name="connsiteY2" fmla="*/ 482918 h 643889"/>
                <a:gd name="connsiteX3" fmla="*/ 548640 w 567690"/>
                <a:gd name="connsiteY3" fmla="*/ 497205 h 643889"/>
                <a:gd name="connsiteX4" fmla="*/ 302895 w 567690"/>
                <a:gd name="connsiteY4" fmla="*/ 639128 h 643889"/>
                <a:gd name="connsiteX5" fmla="*/ 283845 w 567690"/>
                <a:gd name="connsiteY5" fmla="*/ 643890 h 643889"/>
                <a:gd name="connsiteX6" fmla="*/ 264795 w 567690"/>
                <a:gd name="connsiteY6" fmla="*/ 639128 h 643889"/>
                <a:gd name="connsiteX7" fmla="*/ 18098 w 567690"/>
                <a:gd name="connsiteY7" fmla="*/ 497205 h 643889"/>
                <a:gd name="connsiteX8" fmla="*/ 4763 w 567690"/>
                <a:gd name="connsiteY8" fmla="*/ 483870 h 643889"/>
                <a:gd name="connsiteX9" fmla="*/ 0 w 567690"/>
                <a:gd name="connsiteY9" fmla="*/ 464820 h 643889"/>
                <a:gd name="connsiteX10" fmla="*/ 0 w 567690"/>
                <a:gd name="connsiteY10" fmla="*/ 180023 h 643889"/>
                <a:gd name="connsiteX11" fmla="*/ 4763 w 567690"/>
                <a:gd name="connsiteY11" fmla="*/ 160973 h 643889"/>
                <a:gd name="connsiteX12" fmla="*/ 19050 w 567690"/>
                <a:gd name="connsiteY12" fmla="*/ 146685 h 643889"/>
                <a:gd name="connsiteX13" fmla="*/ 263843 w 567690"/>
                <a:gd name="connsiteY13" fmla="*/ 4763 h 643889"/>
                <a:gd name="connsiteX14" fmla="*/ 282893 w 567690"/>
                <a:gd name="connsiteY14" fmla="*/ 0 h 643889"/>
                <a:gd name="connsiteX15" fmla="*/ 301943 w 567690"/>
                <a:gd name="connsiteY15" fmla="*/ 4763 h 643889"/>
                <a:gd name="connsiteX16" fmla="*/ 547688 w 567690"/>
                <a:gd name="connsiteY16" fmla="*/ 146685 h 643889"/>
                <a:gd name="connsiteX17" fmla="*/ 561023 w 567690"/>
                <a:gd name="connsiteY17" fmla="*/ 160020 h 643889"/>
                <a:gd name="connsiteX18" fmla="*/ 567690 w 567690"/>
                <a:gd name="connsiteY18" fmla="*/ 180023 h 6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3889">
                  <a:moveTo>
                    <a:pt x="567690" y="180023"/>
                  </a:moveTo>
                  <a:lnTo>
                    <a:pt x="567690" y="463868"/>
                  </a:lnTo>
                  <a:cubicBezTo>
                    <a:pt x="567690" y="470535"/>
                    <a:pt x="565785" y="477203"/>
                    <a:pt x="562928" y="482918"/>
                  </a:cubicBezTo>
                  <a:cubicBezTo>
                    <a:pt x="559118" y="488633"/>
                    <a:pt x="554355" y="493395"/>
                    <a:pt x="548640" y="497205"/>
                  </a:cubicBezTo>
                  <a:lnTo>
                    <a:pt x="302895" y="639128"/>
                  </a:lnTo>
                  <a:cubicBezTo>
                    <a:pt x="297180" y="641985"/>
                    <a:pt x="290513" y="643890"/>
                    <a:pt x="283845" y="643890"/>
                  </a:cubicBezTo>
                  <a:cubicBezTo>
                    <a:pt x="277178" y="643890"/>
                    <a:pt x="270510" y="641985"/>
                    <a:pt x="264795" y="639128"/>
                  </a:cubicBezTo>
                  <a:lnTo>
                    <a:pt x="18098" y="497205"/>
                  </a:lnTo>
                  <a:cubicBezTo>
                    <a:pt x="12382" y="494348"/>
                    <a:pt x="7620" y="489585"/>
                    <a:pt x="4763" y="483870"/>
                  </a:cubicBezTo>
                  <a:cubicBezTo>
                    <a:pt x="953" y="478155"/>
                    <a:pt x="0" y="471488"/>
                    <a:pt x="0" y="464820"/>
                  </a:cubicBezTo>
                  <a:lnTo>
                    <a:pt x="0" y="180023"/>
                  </a:lnTo>
                  <a:cubicBezTo>
                    <a:pt x="0" y="173355"/>
                    <a:pt x="1905" y="166688"/>
                    <a:pt x="4763" y="160973"/>
                  </a:cubicBezTo>
                  <a:cubicBezTo>
                    <a:pt x="8573" y="155258"/>
                    <a:pt x="13335" y="150495"/>
                    <a:pt x="19050" y="146685"/>
                  </a:cubicBezTo>
                  <a:lnTo>
                    <a:pt x="263843" y="4763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4763"/>
                  </a:cubicBezTo>
                  <a:lnTo>
                    <a:pt x="547688" y="146685"/>
                  </a:lnTo>
                  <a:cubicBezTo>
                    <a:pt x="553403" y="149543"/>
                    <a:pt x="558165" y="154305"/>
                    <a:pt x="561023" y="160020"/>
                  </a:cubicBezTo>
                  <a:cubicBezTo>
                    <a:pt x="565785" y="167640"/>
                    <a:pt x="567690" y="173355"/>
                    <a:pt x="567690" y="18002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5" name="Grafik 3">
              <a:extLst>
                <a:ext uri="{FF2B5EF4-FFF2-40B4-BE49-F238E27FC236}">
                  <a16:creationId xmlns:a16="http://schemas.microsoft.com/office/drawing/2014/main" id="{8C7D6741-E300-40D7-9646-F9C7BAD90A3F}"/>
                </a:ext>
              </a:extLst>
            </p:cNvPr>
            <p:cNvSpPr/>
            <p:nvPr/>
          </p:nvSpPr>
          <p:spPr>
            <a:xfrm>
              <a:off x="3688714" y="3383121"/>
              <a:ext cx="567690" cy="644842"/>
            </a:xfrm>
            <a:custGeom>
              <a:avLst/>
              <a:gdLst>
                <a:gd name="connsiteX0" fmla="*/ 567690 w 567690"/>
                <a:gd name="connsiteY0" fmla="*/ 180975 h 644842"/>
                <a:gd name="connsiteX1" fmla="*/ 567690 w 567690"/>
                <a:gd name="connsiteY1" fmla="*/ 464820 h 644842"/>
                <a:gd name="connsiteX2" fmla="*/ 562928 w 567690"/>
                <a:gd name="connsiteY2" fmla="*/ 483870 h 644842"/>
                <a:gd name="connsiteX3" fmla="*/ 548640 w 567690"/>
                <a:gd name="connsiteY3" fmla="*/ 498158 h 644842"/>
                <a:gd name="connsiteX4" fmla="*/ 302895 w 567690"/>
                <a:gd name="connsiteY4" fmla="*/ 640080 h 644842"/>
                <a:gd name="connsiteX5" fmla="*/ 283845 w 567690"/>
                <a:gd name="connsiteY5" fmla="*/ 644843 h 644842"/>
                <a:gd name="connsiteX6" fmla="*/ 264795 w 567690"/>
                <a:gd name="connsiteY6" fmla="*/ 640080 h 644842"/>
                <a:gd name="connsiteX7" fmla="*/ 18098 w 567690"/>
                <a:gd name="connsiteY7" fmla="*/ 498158 h 644842"/>
                <a:gd name="connsiteX8" fmla="*/ 4763 w 567690"/>
                <a:gd name="connsiteY8" fmla="*/ 484823 h 644842"/>
                <a:gd name="connsiteX9" fmla="*/ 0 w 567690"/>
                <a:gd name="connsiteY9" fmla="*/ 465773 h 644842"/>
                <a:gd name="connsiteX10" fmla="*/ 0 w 567690"/>
                <a:gd name="connsiteY10" fmla="*/ 180975 h 644842"/>
                <a:gd name="connsiteX11" fmla="*/ 4763 w 567690"/>
                <a:gd name="connsiteY11" fmla="*/ 161925 h 644842"/>
                <a:gd name="connsiteX12" fmla="*/ 18098 w 567690"/>
                <a:gd name="connsiteY12" fmla="*/ 147638 h 644842"/>
                <a:gd name="connsiteX13" fmla="*/ 263843 w 567690"/>
                <a:gd name="connsiteY13" fmla="*/ 5715 h 644842"/>
                <a:gd name="connsiteX14" fmla="*/ 282893 w 567690"/>
                <a:gd name="connsiteY14" fmla="*/ 0 h 644842"/>
                <a:gd name="connsiteX15" fmla="*/ 301943 w 567690"/>
                <a:gd name="connsiteY15" fmla="*/ 5715 h 644842"/>
                <a:gd name="connsiteX16" fmla="*/ 548640 w 567690"/>
                <a:gd name="connsiteY16" fmla="*/ 147638 h 644842"/>
                <a:gd name="connsiteX17" fmla="*/ 561975 w 567690"/>
                <a:gd name="connsiteY17" fmla="*/ 160973 h 644842"/>
                <a:gd name="connsiteX18" fmla="*/ 567690 w 567690"/>
                <a:gd name="connsiteY18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4842">
                  <a:moveTo>
                    <a:pt x="567690" y="180975"/>
                  </a:moveTo>
                  <a:lnTo>
                    <a:pt x="567690" y="464820"/>
                  </a:lnTo>
                  <a:cubicBezTo>
                    <a:pt x="567690" y="471488"/>
                    <a:pt x="565785" y="478155"/>
                    <a:pt x="562928" y="483870"/>
                  </a:cubicBezTo>
                  <a:cubicBezTo>
                    <a:pt x="559118" y="489585"/>
                    <a:pt x="554355" y="494348"/>
                    <a:pt x="548640" y="498158"/>
                  </a:cubicBezTo>
                  <a:lnTo>
                    <a:pt x="302895" y="640080"/>
                  </a:lnTo>
                  <a:cubicBezTo>
                    <a:pt x="297180" y="643890"/>
                    <a:pt x="290513" y="644843"/>
                    <a:pt x="283845" y="644843"/>
                  </a:cubicBezTo>
                  <a:cubicBezTo>
                    <a:pt x="277178" y="644843"/>
                    <a:pt x="270510" y="642938"/>
                    <a:pt x="264795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4823"/>
                  </a:cubicBezTo>
                  <a:cubicBezTo>
                    <a:pt x="953" y="479108"/>
                    <a:pt x="0" y="472440"/>
                    <a:pt x="0" y="465773"/>
                  </a:cubicBez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7620" y="156210"/>
                    <a:pt x="12383" y="151448"/>
                    <a:pt x="18098" y="147638"/>
                  </a:cubicBezTo>
                  <a:lnTo>
                    <a:pt x="263843" y="5715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5715"/>
                  </a:cubicBezTo>
                  <a:lnTo>
                    <a:pt x="548640" y="147638"/>
                  </a:lnTo>
                  <a:cubicBezTo>
                    <a:pt x="554355" y="150495"/>
                    <a:pt x="559118" y="155258"/>
                    <a:pt x="561975" y="160973"/>
                  </a:cubicBezTo>
                  <a:cubicBezTo>
                    <a:pt x="565785" y="167640"/>
                    <a:pt x="567690" y="174308"/>
                    <a:pt x="567690" y="1809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6" name="Grafik 3">
              <a:extLst>
                <a:ext uri="{FF2B5EF4-FFF2-40B4-BE49-F238E27FC236}">
                  <a16:creationId xmlns:a16="http://schemas.microsoft.com/office/drawing/2014/main" id="{22EE2C74-BFCB-40EA-A508-482D1FAC55EB}"/>
                </a:ext>
              </a:extLst>
            </p:cNvPr>
            <p:cNvSpPr/>
            <p:nvPr/>
          </p:nvSpPr>
          <p:spPr>
            <a:xfrm>
              <a:off x="4340224" y="3383121"/>
              <a:ext cx="566737" cy="644842"/>
            </a:xfrm>
            <a:custGeom>
              <a:avLst/>
              <a:gdLst>
                <a:gd name="connsiteX0" fmla="*/ 566738 w 566737"/>
                <a:gd name="connsiteY0" fmla="*/ 180975 h 644842"/>
                <a:gd name="connsiteX1" fmla="*/ 566738 w 566737"/>
                <a:gd name="connsiteY1" fmla="*/ 464820 h 644842"/>
                <a:gd name="connsiteX2" fmla="*/ 561975 w 566737"/>
                <a:gd name="connsiteY2" fmla="*/ 483870 h 644842"/>
                <a:gd name="connsiteX3" fmla="*/ 547688 w 566737"/>
                <a:gd name="connsiteY3" fmla="*/ 498158 h 644842"/>
                <a:gd name="connsiteX4" fmla="*/ 301942 w 566737"/>
                <a:gd name="connsiteY4" fmla="*/ 640080 h 644842"/>
                <a:gd name="connsiteX5" fmla="*/ 282892 w 566737"/>
                <a:gd name="connsiteY5" fmla="*/ 644843 h 644842"/>
                <a:gd name="connsiteX6" fmla="*/ 263842 w 566737"/>
                <a:gd name="connsiteY6" fmla="*/ 640080 h 644842"/>
                <a:gd name="connsiteX7" fmla="*/ 18098 w 566737"/>
                <a:gd name="connsiteY7" fmla="*/ 498158 h 644842"/>
                <a:gd name="connsiteX8" fmla="*/ 4763 w 566737"/>
                <a:gd name="connsiteY8" fmla="*/ 483870 h 644842"/>
                <a:gd name="connsiteX9" fmla="*/ 0 w 566737"/>
                <a:gd name="connsiteY9" fmla="*/ 464820 h 644842"/>
                <a:gd name="connsiteX10" fmla="*/ 0 w 566737"/>
                <a:gd name="connsiteY10" fmla="*/ 322898 h 644842"/>
                <a:gd name="connsiteX11" fmla="*/ 0 w 566737"/>
                <a:gd name="connsiteY11" fmla="*/ 180975 h 644842"/>
                <a:gd name="connsiteX12" fmla="*/ 4763 w 566737"/>
                <a:gd name="connsiteY12" fmla="*/ 161925 h 644842"/>
                <a:gd name="connsiteX13" fmla="*/ 19050 w 566737"/>
                <a:gd name="connsiteY13" fmla="*/ 147638 h 644842"/>
                <a:gd name="connsiteX14" fmla="*/ 264795 w 566737"/>
                <a:gd name="connsiteY14" fmla="*/ 5715 h 644842"/>
                <a:gd name="connsiteX15" fmla="*/ 283845 w 566737"/>
                <a:gd name="connsiteY15" fmla="*/ 0 h 644842"/>
                <a:gd name="connsiteX16" fmla="*/ 302895 w 566737"/>
                <a:gd name="connsiteY16" fmla="*/ 5715 h 644842"/>
                <a:gd name="connsiteX17" fmla="*/ 547688 w 566737"/>
                <a:gd name="connsiteY17" fmla="*/ 148590 h 644842"/>
                <a:gd name="connsiteX18" fmla="*/ 561023 w 566737"/>
                <a:gd name="connsiteY18" fmla="*/ 161925 h 644842"/>
                <a:gd name="connsiteX19" fmla="*/ 566738 w 566737"/>
                <a:gd name="connsiteY19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66737" h="644842">
                  <a:moveTo>
                    <a:pt x="566738" y="180975"/>
                  </a:moveTo>
                  <a:lnTo>
                    <a:pt x="566738" y="464820"/>
                  </a:lnTo>
                  <a:cubicBezTo>
                    <a:pt x="566738" y="471488"/>
                    <a:pt x="564833" y="478155"/>
                    <a:pt x="561975" y="483870"/>
                  </a:cubicBezTo>
                  <a:cubicBezTo>
                    <a:pt x="558165" y="489585"/>
                    <a:pt x="553403" y="494348"/>
                    <a:pt x="547688" y="498158"/>
                  </a:cubicBezTo>
                  <a:lnTo>
                    <a:pt x="301942" y="640080"/>
                  </a:lnTo>
                  <a:cubicBezTo>
                    <a:pt x="296228" y="643890"/>
                    <a:pt x="289560" y="644843"/>
                    <a:pt x="282892" y="644843"/>
                  </a:cubicBezTo>
                  <a:cubicBezTo>
                    <a:pt x="276225" y="644843"/>
                    <a:pt x="269558" y="642938"/>
                    <a:pt x="263842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3870"/>
                  </a:cubicBezTo>
                  <a:cubicBezTo>
                    <a:pt x="952" y="478155"/>
                    <a:pt x="0" y="471488"/>
                    <a:pt x="0" y="464820"/>
                  </a:cubicBezTo>
                  <a:lnTo>
                    <a:pt x="0" y="322898"/>
                  </a:ln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8573" y="156210"/>
                    <a:pt x="13335" y="151448"/>
                    <a:pt x="19050" y="147638"/>
                  </a:cubicBezTo>
                  <a:lnTo>
                    <a:pt x="264795" y="5715"/>
                  </a:lnTo>
                  <a:cubicBezTo>
                    <a:pt x="270510" y="2858"/>
                    <a:pt x="277178" y="0"/>
                    <a:pt x="283845" y="0"/>
                  </a:cubicBezTo>
                  <a:cubicBezTo>
                    <a:pt x="290513" y="0"/>
                    <a:pt x="297180" y="1905"/>
                    <a:pt x="302895" y="5715"/>
                  </a:cubicBezTo>
                  <a:lnTo>
                    <a:pt x="547688" y="148590"/>
                  </a:lnTo>
                  <a:cubicBezTo>
                    <a:pt x="553403" y="151448"/>
                    <a:pt x="558165" y="156210"/>
                    <a:pt x="561023" y="161925"/>
                  </a:cubicBezTo>
                  <a:cubicBezTo>
                    <a:pt x="564833" y="167640"/>
                    <a:pt x="566738" y="174308"/>
                    <a:pt x="566738" y="1809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7" name="Grafik 3">
              <a:extLst>
                <a:ext uri="{FF2B5EF4-FFF2-40B4-BE49-F238E27FC236}">
                  <a16:creationId xmlns:a16="http://schemas.microsoft.com/office/drawing/2014/main" id="{B61C4DCF-39A4-4BC2-9691-EE45365360A6}"/>
                </a:ext>
              </a:extLst>
            </p:cNvPr>
            <p:cNvSpPr/>
            <p:nvPr/>
          </p:nvSpPr>
          <p:spPr>
            <a:xfrm>
              <a:off x="6739571" y="2990691"/>
              <a:ext cx="1374457" cy="878204"/>
            </a:xfrm>
            <a:custGeom>
              <a:avLst/>
              <a:gdLst>
                <a:gd name="connsiteX0" fmla="*/ 239078 w 1374457"/>
                <a:gd name="connsiteY0" fmla="*/ 635318 h 878204"/>
                <a:gd name="connsiteX1" fmla="*/ 244793 w 1374457"/>
                <a:gd name="connsiteY1" fmla="*/ 679133 h 878204"/>
                <a:gd name="connsiteX2" fmla="*/ 262890 w 1374457"/>
                <a:gd name="connsiteY2" fmla="*/ 717233 h 878204"/>
                <a:gd name="connsiteX3" fmla="*/ 294322 w 1374457"/>
                <a:gd name="connsiteY3" fmla="*/ 744855 h 878204"/>
                <a:gd name="connsiteX4" fmla="*/ 340995 w 1374457"/>
                <a:gd name="connsiteY4" fmla="*/ 755333 h 878204"/>
                <a:gd name="connsiteX5" fmla="*/ 1374458 w 1374457"/>
                <a:gd name="connsiteY5" fmla="*/ 755333 h 878204"/>
                <a:gd name="connsiteX6" fmla="*/ 1374458 w 1374457"/>
                <a:gd name="connsiteY6" fmla="*/ 878205 h 878204"/>
                <a:gd name="connsiteX7" fmla="*/ 258128 w 1374457"/>
                <a:gd name="connsiteY7" fmla="*/ 878205 h 878204"/>
                <a:gd name="connsiteX8" fmla="*/ 140018 w 1374457"/>
                <a:gd name="connsiteY8" fmla="*/ 858203 h 878204"/>
                <a:gd name="connsiteX9" fmla="*/ 60008 w 1374457"/>
                <a:gd name="connsiteY9" fmla="*/ 805815 h 878204"/>
                <a:gd name="connsiteX10" fmla="*/ 14288 w 1374457"/>
                <a:gd name="connsiteY10" fmla="*/ 728663 h 878204"/>
                <a:gd name="connsiteX11" fmla="*/ 0 w 1374457"/>
                <a:gd name="connsiteY11" fmla="*/ 636270 h 878204"/>
                <a:gd name="connsiteX12" fmla="*/ 0 w 1374457"/>
                <a:gd name="connsiteY12" fmla="*/ 0 h 878204"/>
                <a:gd name="connsiteX13" fmla="*/ 238125 w 1374457"/>
                <a:gd name="connsiteY13" fmla="*/ 0 h 878204"/>
                <a:gd name="connsiteX14" fmla="*/ 238125 w 1374457"/>
                <a:gd name="connsiteY14" fmla="*/ 635318 h 878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4457" h="878204">
                  <a:moveTo>
                    <a:pt x="239078" y="635318"/>
                  </a:moveTo>
                  <a:cubicBezTo>
                    <a:pt x="239078" y="649605"/>
                    <a:pt x="240983" y="664845"/>
                    <a:pt x="244793" y="679133"/>
                  </a:cubicBezTo>
                  <a:cubicBezTo>
                    <a:pt x="248603" y="693420"/>
                    <a:pt x="254318" y="705803"/>
                    <a:pt x="262890" y="717233"/>
                  </a:cubicBezTo>
                  <a:cubicBezTo>
                    <a:pt x="270510" y="728663"/>
                    <a:pt x="280988" y="737235"/>
                    <a:pt x="294322" y="744855"/>
                  </a:cubicBezTo>
                  <a:cubicBezTo>
                    <a:pt x="307658" y="751523"/>
                    <a:pt x="322897" y="755333"/>
                    <a:pt x="340995" y="755333"/>
                  </a:cubicBezTo>
                  <a:lnTo>
                    <a:pt x="1374458" y="755333"/>
                  </a:lnTo>
                  <a:lnTo>
                    <a:pt x="1374458" y="878205"/>
                  </a:lnTo>
                  <a:lnTo>
                    <a:pt x="258128" y="878205"/>
                  </a:lnTo>
                  <a:cubicBezTo>
                    <a:pt x="212408" y="878205"/>
                    <a:pt x="173355" y="871538"/>
                    <a:pt x="140018" y="858203"/>
                  </a:cubicBezTo>
                  <a:cubicBezTo>
                    <a:pt x="107633" y="845820"/>
                    <a:pt x="80963" y="827723"/>
                    <a:pt x="60008" y="805815"/>
                  </a:cubicBezTo>
                  <a:cubicBezTo>
                    <a:pt x="39053" y="782955"/>
                    <a:pt x="24765" y="757238"/>
                    <a:pt x="14288" y="728663"/>
                  </a:cubicBezTo>
                  <a:cubicBezTo>
                    <a:pt x="4763" y="700088"/>
                    <a:pt x="0" y="668655"/>
                    <a:pt x="0" y="636270"/>
                  </a:cubicBezTo>
                  <a:lnTo>
                    <a:pt x="0" y="0"/>
                  </a:lnTo>
                  <a:lnTo>
                    <a:pt x="238125" y="0"/>
                  </a:lnTo>
                  <a:lnTo>
                    <a:pt x="238125" y="63531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8" name="Grafik 3">
              <a:extLst>
                <a:ext uri="{FF2B5EF4-FFF2-40B4-BE49-F238E27FC236}">
                  <a16:creationId xmlns:a16="http://schemas.microsoft.com/office/drawing/2014/main" id="{90E358AD-A90C-4276-97ED-AAF6728EE640}"/>
                </a:ext>
              </a:extLst>
            </p:cNvPr>
            <p:cNvSpPr/>
            <p:nvPr/>
          </p:nvSpPr>
          <p:spPr>
            <a:xfrm>
              <a:off x="5157469" y="2990691"/>
              <a:ext cx="1374457" cy="879157"/>
            </a:xfrm>
            <a:custGeom>
              <a:avLst/>
              <a:gdLst>
                <a:gd name="connsiteX0" fmla="*/ 239077 w 1374457"/>
                <a:gd name="connsiteY0" fmla="*/ 241935 h 879157"/>
                <a:gd name="connsiteX1" fmla="*/ 244792 w 1374457"/>
                <a:gd name="connsiteY1" fmla="*/ 198120 h 879157"/>
                <a:gd name="connsiteX2" fmla="*/ 262890 w 1374457"/>
                <a:gd name="connsiteY2" fmla="*/ 160020 h 879157"/>
                <a:gd name="connsiteX3" fmla="*/ 294322 w 1374457"/>
                <a:gd name="connsiteY3" fmla="*/ 132398 h 879157"/>
                <a:gd name="connsiteX4" fmla="*/ 340995 w 1374457"/>
                <a:gd name="connsiteY4" fmla="*/ 121920 h 879157"/>
                <a:gd name="connsiteX5" fmla="*/ 1374458 w 1374457"/>
                <a:gd name="connsiteY5" fmla="*/ 121920 h 879157"/>
                <a:gd name="connsiteX6" fmla="*/ 1374458 w 1374457"/>
                <a:gd name="connsiteY6" fmla="*/ 0 h 879157"/>
                <a:gd name="connsiteX7" fmla="*/ 258127 w 1374457"/>
                <a:gd name="connsiteY7" fmla="*/ 0 h 879157"/>
                <a:gd name="connsiteX8" fmla="*/ 140017 w 1374457"/>
                <a:gd name="connsiteY8" fmla="*/ 20003 h 879157"/>
                <a:gd name="connsiteX9" fmla="*/ 60008 w 1374457"/>
                <a:gd name="connsiteY9" fmla="*/ 72390 h 879157"/>
                <a:gd name="connsiteX10" fmla="*/ 14288 w 1374457"/>
                <a:gd name="connsiteY10" fmla="*/ 149542 h 879157"/>
                <a:gd name="connsiteX11" fmla="*/ 0 w 1374457"/>
                <a:gd name="connsiteY11" fmla="*/ 241935 h 879157"/>
                <a:gd name="connsiteX12" fmla="*/ 0 w 1374457"/>
                <a:gd name="connsiteY12" fmla="*/ 258128 h 879157"/>
                <a:gd name="connsiteX13" fmla="*/ 14288 w 1374457"/>
                <a:gd name="connsiteY13" fmla="*/ 350520 h 879157"/>
                <a:gd name="connsiteX14" fmla="*/ 60008 w 1374457"/>
                <a:gd name="connsiteY14" fmla="*/ 427673 h 879157"/>
                <a:gd name="connsiteX15" fmla="*/ 140017 w 1374457"/>
                <a:gd name="connsiteY15" fmla="*/ 480060 h 879157"/>
                <a:gd name="connsiteX16" fmla="*/ 258127 w 1374457"/>
                <a:gd name="connsiteY16" fmla="*/ 500063 h 879157"/>
                <a:gd name="connsiteX17" fmla="*/ 1034415 w 1374457"/>
                <a:gd name="connsiteY17" fmla="*/ 500063 h 879157"/>
                <a:gd name="connsiteX18" fmla="*/ 1081087 w 1374457"/>
                <a:gd name="connsiteY18" fmla="*/ 510540 h 879157"/>
                <a:gd name="connsiteX19" fmla="*/ 1112520 w 1374457"/>
                <a:gd name="connsiteY19" fmla="*/ 538163 h 879157"/>
                <a:gd name="connsiteX20" fmla="*/ 1130618 w 1374457"/>
                <a:gd name="connsiteY20" fmla="*/ 576263 h 879157"/>
                <a:gd name="connsiteX21" fmla="*/ 1136333 w 1374457"/>
                <a:gd name="connsiteY21" fmla="*/ 620078 h 879157"/>
                <a:gd name="connsiteX22" fmla="*/ 1136333 w 1374457"/>
                <a:gd name="connsiteY22" fmla="*/ 636270 h 879157"/>
                <a:gd name="connsiteX23" fmla="*/ 1130618 w 1374457"/>
                <a:gd name="connsiteY23" fmla="*/ 680085 h 879157"/>
                <a:gd name="connsiteX24" fmla="*/ 1112520 w 1374457"/>
                <a:gd name="connsiteY24" fmla="*/ 718185 h 879157"/>
                <a:gd name="connsiteX25" fmla="*/ 1081087 w 1374457"/>
                <a:gd name="connsiteY25" fmla="*/ 745808 h 879157"/>
                <a:gd name="connsiteX26" fmla="*/ 1034415 w 1374457"/>
                <a:gd name="connsiteY26" fmla="*/ 756285 h 879157"/>
                <a:gd name="connsiteX27" fmla="*/ 952 w 1374457"/>
                <a:gd name="connsiteY27" fmla="*/ 756285 h 879157"/>
                <a:gd name="connsiteX28" fmla="*/ 952 w 1374457"/>
                <a:gd name="connsiteY28" fmla="*/ 879158 h 879157"/>
                <a:gd name="connsiteX29" fmla="*/ 1116330 w 1374457"/>
                <a:gd name="connsiteY29" fmla="*/ 879158 h 879157"/>
                <a:gd name="connsiteX30" fmla="*/ 1234440 w 1374457"/>
                <a:gd name="connsiteY30" fmla="*/ 859155 h 879157"/>
                <a:gd name="connsiteX31" fmla="*/ 1314450 w 1374457"/>
                <a:gd name="connsiteY31" fmla="*/ 806768 h 879157"/>
                <a:gd name="connsiteX32" fmla="*/ 1360170 w 1374457"/>
                <a:gd name="connsiteY32" fmla="*/ 729615 h 879157"/>
                <a:gd name="connsiteX33" fmla="*/ 1374458 w 1374457"/>
                <a:gd name="connsiteY33" fmla="*/ 637223 h 879157"/>
                <a:gd name="connsiteX34" fmla="*/ 1374458 w 1374457"/>
                <a:gd name="connsiteY34" fmla="*/ 621030 h 879157"/>
                <a:gd name="connsiteX35" fmla="*/ 1360170 w 1374457"/>
                <a:gd name="connsiteY35" fmla="*/ 528638 h 879157"/>
                <a:gd name="connsiteX36" fmla="*/ 1314450 w 1374457"/>
                <a:gd name="connsiteY36" fmla="*/ 451485 h 879157"/>
                <a:gd name="connsiteX37" fmla="*/ 1234440 w 1374457"/>
                <a:gd name="connsiteY37" fmla="*/ 399098 h 879157"/>
                <a:gd name="connsiteX38" fmla="*/ 1116330 w 1374457"/>
                <a:gd name="connsiteY38" fmla="*/ 379095 h 879157"/>
                <a:gd name="connsiteX39" fmla="*/ 340042 w 1374457"/>
                <a:gd name="connsiteY39" fmla="*/ 379095 h 879157"/>
                <a:gd name="connsiteX40" fmla="*/ 293370 w 1374457"/>
                <a:gd name="connsiteY40" fmla="*/ 368618 h 879157"/>
                <a:gd name="connsiteX41" fmla="*/ 261938 w 1374457"/>
                <a:gd name="connsiteY41" fmla="*/ 340995 h 879157"/>
                <a:gd name="connsiteX42" fmla="*/ 243840 w 1374457"/>
                <a:gd name="connsiteY42" fmla="*/ 302895 h 879157"/>
                <a:gd name="connsiteX43" fmla="*/ 238125 w 1374457"/>
                <a:gd name="connsiteY43" fmla="*/ 259080 h 879157"/>
                <a:gd name="connsiteX44" fmla="*/ 238125 w 1374457"/>
                <a:gd name="connsiteY44" fmla="*/ 241935 h 87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74457" h="879157">
                  <a:moveTo>
                    <a:pt x="239077" y="241935"/>
                  </a:moveTo>
                  <a:cubicBezTo>
                    <a:pt x="239077" y="226695"/>
                    <a:pt x="240983" y="212408"/>
                    <a:pt x="244792" y="198120"/>
                  </a:cubicBezTo>
                  <a:cubicBezTo>
                    <a:pt x="248602" y="183833"/>
                    <a:pt x="254317" y="171450"/>
                    <a:pt x="262890" y="160020"/>
                  </a:cubicBezTo>
                  <a:cubicBezTo>
                    <a:pt x="270510" y="148590"/>
                    <a:pt x="281940" y="140018"/>
                    <a:pt x="294322" y="132398"/>
                  </a:cubicBezTo>
                  <a:cubicBezTo>
                    <a:pt x="307658" y="125730"/>
                    <a:pt x="322897" y="121920"/>
                    <a:pt x="340995" y="121920"/>
                  </a:cubicBezTo>
                  <a:lnTo>
                    <a:pt x="1374458" y="121920"/>
                  </a:lnTo>
                  <a:lnTo>
                    <a:pt x="1374458" y="0"/>
                  </a:lnTo>
                  <a:lnTo>
                    <a:pt x="258127" y="0"/>
                  </a:lnTo>
                  <a:cubicBezTo>
                    <a:pt x="212408" y="0"/>
                    <a:pt x="173355" y="6668"/>
                    <a:pt x="140017" y="20003"/>
                  </a:cubicBezTo>
                  <a:cubicBezTo>
                    <a:pt x="107633" y="32385"/>
                    <a:pt x="80963" y="50483"/>
                    <a:pt x="60008" y="72390"/>
                  </a:cubicBezTo>
                  <a:cubicBezTo>
                    <a:pt x="39052" y="95250"/>
                    <a:pt x="24765" y="120968"/>
                    <a:pt x="14288" y="149542"/>
                  </a:cubicBezTo>
                  <a:cubicBezTo>
                    <a:pt x="4763" y="178117"/>
                    <a:pt x="0" y="209550"/>
                    <a:pt x="0" y="241935"/>
                  </a:cubicBezTo>
                  <a:lnTo>
                    <a:pt x="0" y="258128"/>
                  </a:lnTo>
                  <a:cubicBezTo>
                    <a:pt x="0" y="290513"/>
                    <a:pt x="4763" y="321945"/>
                    <a:pt x="14288" y="350520"/>
                  </a:cubicBezTo>
                  <a:cubicBezTo>
                    <a:pt x="23813" y="379095"/>
                    <a:pt x="39052" y="404813"/>
                    <a:pt x="60008" y="427673"/>
                  </a:cubicBezTo>
                  <a:cubicBezTo>
                    <a:pt x="80963" y="449580"/>
                    <a:pt x="107633" y="467678"/>
                    <a:pt x="140017" y="480060"/>
                  </a:cubicBezTo>
                  <a:cubicBezTo>
                    <a:pt x="172402" y="493395"/>
                    <a:pt x="212408" y="499110"/>
                    <a:pt x="258127" y="500063"/>
                  </a:cubicBezTo>
                  <a:cubicBezTo>
                    <a:pt x="526733" y="500063"/>
                    <a:pt x="765810" y="500063"/>
                    <a:pt x="1034415" y="500063"/>
                  </a:cubicBezTo>
                  <a:cubicBezTo>
                    <a:pt x="1052512" y="500063"/>
                    <a:pt x="1067752" y="503873"/>
                    <a:pt x="1081087" y="510540"/>
                  </a:cubicBezTo>
                  <a:cubicBezTo>
                    <a:pt x="1093470" y="517207"/>
                    <a:pt x="1104900" y="526733"/>
                    <a:pt x="1112520" y="538163"/>
                  </a:cubicBezTo>
                  <a:cubicBezTo>
                    <a:pt x="1120140" y="549593"/>
                    <a:pt x="1126808" y="561975"/>
                    <a:pt x="1130618" y="576263"/>
                  </a:cubicBezTo>
                  <a:cubicBezTo>
                    <a:pt x="1134427" y="590550"/>
                    <a:pt x="1136333" y="604838"/>
                    <a:pt x="1136333" y="620078"/>
                  </a:cubicBezTo>
                  <a:lnTo>
                    <a:pt x="1136333" y="636270"/>
                  </a:lnTo>
                  <a:cubicBezTo>
                    <a:pt x="1136333" y="650558"/>
                    <a:pt x="1134427" y="665798"/>
                    <a:pt x="1130618" y="680085"/>
                  </a:cubicBezTo>
                  <a:cubicBezTo>
                    <a:pt x="1126808" y="694373"/>
                    <a:pt x="1121093" y="706755"/>
                    <a:pt x="1112520" y="718185"/>
                  </a:cubicBezTo>
                  <a:cubicBezTo>
                    <a:pt x="1104900" y="729615"/>
                    <a:pt x="1093470" y="738188"/>
                    <a:pt x="1081087" y="745808"/>
                  </a:cubicBezTo>
                  <a:cubicBezTo>
                    <a:pt x="1067752" y="752475"/>
                    <a:pt x="1052512" y="756285"/>
                    <a:pt x="1034415" y="756285"/>
                  </a:cubicBezTo>
                  <a:lnTo>
                    <a:pt x="952" y="756285"/>
                  </a:lnTo>
                  <a:lnTo>
                    <a:pt x="952" y="879158"/>
                  </a:lnTo>
                  <a:lnTo>
                    <a:pt x="1116330" y="879158"/>
                  </a:lnTo>
                  <a:cubicBezTo>
                    <a:pt x="1162050" y="879158"/>
                    <a:pt x="1201102" y="872490"/>
                    <a:pt x="1234440" y="859155"/>
                  </a:cubicBezTo>
                  <a:cubicBezTo>
                    <a:pt x="1266825" y="846773"/>
                    <a:pt x="1293495" y="828675"/>
                    <a:pt x="1314450" y="806768"/>
                  </a:cubicBezTo>
                  <a:cubicBezTo>
                    <a:pt x="1335405" y="783908"/>
                    <a:pt x="1349693" y="758190"/>
                    <a:pt x="1360170" y="729615"/>
                  </a:cubicBezTo>
                  <a:cubicBezTo>
                    <a:pt x="1369695" y="701040"/>
                    <a:pt x="1374458" y="669608"/>
                    <a:pt x="1374458" y="637223"/>
                  </a:cubicBezTo>
                  <a:lnTo>
                    <a:pt x="1374458" y="621030"/>
                  </a:lnTo>
                  <a:cubicBezTo>
                    <a:pt x="1374458" y="588645"/>
                    <a:pt x="1369695" y="557213"/>
                    <a:pt x="1360170" y="528638"/>
                  </a:cubicBezTo>
                  <a:cubicBezTo>
                    <a:pt x="1350645" y="500063"/>
                    <a:pt x="1335405" y="474345"/>
                    <a:pt x="1314450" y="451485"/>
                  </a:cubicBezTo>
                  <a:cubicBezTo>
                    <a:pt x="1293495" y="429578"/>
                    <a:pt x="1266825" y="411480"/>
                    <a:pt x="1234440" y="399098"/>
                  </a:cubicBezTo>
                  <a:cubicBezTo>
                    <a:pt x="1202055" y="385763"/>
                    <a:pt x="1163002" y="380048"/>
                    <a:pt x="1116330" y="379095"/>
                  </a:cubicBezTo>
                  <a:cubicBezTo>
                    <a:pt x="847725" y="379095"/>
                    <a:pt x="608647" y="379095"/>
                    <a:pt x="340042" y="379095"/>
                  </a:cubicBezTo>
                  <a:cubicBezTo>
                    <a:pt x="321945" y="379095"/>
                    <a:pt x="306705" y="375285"/>
                    <a:pt x="293370" y="368618"/>
                  </a:cubicBezTo>
                  <a:cubicBezTo>
                    <a:pt x="280988" y="361950"/>
                    <a:pt x="270510" y="352425"/>
                    <a:pt x="261938" y="340995"/>
                  </a:cubicBezTo>
                  <a:cubicBezTo>
                    <a:pt x="254317" y="329565"/>
                    <a:pt x="247650" y="317183"/>
                    <a:pt x="243840" y="302895"/>
                  </a:cubicBezTo>
                  <a:cubicBezTo>
                    <a:pt x="240030" y="288608"/>
                    <a:pt x="238125" y="274320"/>
                    <a:pt x="238125" y="259080"/>
                  </a:cubicBezTo>
                  <a:lnTo>
                    <a:pt x="238125" y="24193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9" name="Grafik 3">
              <a:extLst>
                <a:ext uri="{FF2B5EF4-FFF2-40B4-BE49-F238E27FC236}">
                  <a16:creationId xmlns:a16="http://schemas.microsoft.com/office/drawing/2014/main" id="{7F50AF00-64BD-41AD-80DC-AFA5C6B8840E}"/>
                </a:ext>
              </a:extLst>
            </p:cNvPr>
            <p:cNvSpPr/>
            <p:nvPr/>
          </p:nvSpPr>
          <p:spPr>
            <a:xfrm>
              <a:off x="8043544" y="2990691"/>
              <a:ext cx="469582" cy="876300"/>
            </a:xfrm>
            <a:custGeom>
              <a:avLst/>
              <a:gdLst>
                <a:gd name="connsiteX0" fmla="*/ 231458 w 469582"/>
                <a:gd name="connsiteY0" fmla="*/ 241935 h 876300"/>
                <a:gd name="connsiteX1" fmla="*/ 225743 w 469582"/>
                <a:gd name="connsiteY1" fmla="*/ 198120 h 876300"/>
                <a:gd name="connsiteX2" fmla="*/ 207645 w 469582"/>
                <a:gd name="connsiteY2" fmla="*/ 160020 h 876300"/>
                <a:gd name="connsiteX3" fmla="*/ 176213 w 469582"/>
                <a:gd name="connsiteY3" fmla="*/ 132398 h 876300"/>
                <a:gd name="connsiteX4" fmla="*/ 129540 w 469582"/>
                <a:gd name="connsiteY4" fmla="*/ 121920 h 876300"/>
                <a:gd name="connsiteX5" fmla="*/ 0 w 469582"/>
                <a:gd name="connsiteY5" fmla="*/ 121920 h 876300"/>
                <a:gd name="connsiteX6" fmla="*/ 0 w 469582"/>
                <a:gd name="connsiteY6" fmla="*/ 0 h 876300"/>
                <a:gd name="connsiteX7" fmla="*/ 211455 w 469582"/>
                <a:gd name="connsiteY7" fmla="*/ 0 h 876300"/>
                <a:gd name="connsiteX8" fmla="*/ 329565 w 469582"/>
                <a:gd name="connsiteY8" fmla="*/ 20003 h 876300"/>
                <a:gd name="connsiteX9" fmla="*/ 409575 w 469582"/>
                <a:gd name="connsiteY9" fmla="*/ 72390 h 876300"/>
                <a:gd name="connsiteX10" fmla="*/ 455295 w 469582"/>
                <a:gd name="connsiteY10" fmla="*/ 149542 h 876300"/>
                <a:gd name="connsiteX11" fmla="*/ 469583 w 469582"/>
                <a:gd name="connsiteY11" fmla="*/ 241935 h 876300"/>
                <a:gd name="connsiteX12" fmla="*/ 469583 w 469582"/>
                <a:gd name="connsiteY12" fmla="*/ 876300 h 876300"/>
                <a:gd name="connsiteX13" fmla="*/ 231458 w 469582"/>
                <a:gd name="connsiteY13" fmla="*/ 876300 h 876300"/>
                <a:gd name="connsiteX14" fmla="*/ 231458 w 469582"/>
                <a:gd name="connsiteY14" fmla="*/ 241935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9582" h="876300">
                  <a:moveTo>
                    <a:pt x="231458" y="241935"/>
                  </a:moveTo>
                  <a:cubicBezTo>
                    <a:pt x="231458" y="226695"/>
                    <a:pt x="229553" y="212408"/>
                    <a:pt x="225743" y="198120"/>
                  </a:cubicBezTo>
                  <a:cubicBezTo>
                    <a:pt x="221933" y="183833"/>
                    <a:pt x="216218" y="171450"/>
                    <a:pt x="207645" y="160020"/>
                  </a:cubicBezTo>
                  <a:cubicBezTo>
                    <a:pt x="200025" y="148590"/>
                    <a:pt x="188595" y="140018"/>
                    <a:pt x="176213" y="132398"/>
                  </a:cubicBezTo>
                  <a:cubicBezTo>
                    <a:pt x="162878" y="125730"/>
                    <a:pt x="147638" y="121920"/>
                    <a:pt x="129540" y="121920"/>
                  </a:cubicBezTo>
                  <a:lnTo>
                    <a:pt x="0" y="121920"/>
                  </a:lnTo>
                  <a:lnTo>
                    <a:pt x="0" y="0"/>
                  </a:lnTo>
                  <a:lnTo>
                    <a:pt x="211455" y="0"/>
                  </a:lnTo>
                  <a:cubicBezTo>
                    <a:pt x="257175" y="0"/>
                    <a:pt x="296228" y="6668"/>
                    <a:pt x="329565" y="20003"/>
                  </a:cubicBezTo>
                  <a:cubicBezTo>
                    <a:pt x="361950" y="32385"/>
                    <a:pt x="388620" y="50483"/>
                    <a:pt x="409575" y="72390"/>
                  </a:cubicBezTo>
                  <a:cubicBezTo>
                    <a:pt x="430530" y="95250"/>
                    <a:pt x="444818" y="120968"/>
                    <a:pt x="455295" y="149542"/>
                  </a:cubicBezTo>
                  <a:cubicBezTo>
                    <a:pt x="464820" y="178117"/>
                    <a:pt x="469583" y="209550"/>
                    <a:pt x="469583" y="241935"/>
                  </a:cubicBezTo>
                  <a:lnTo>
                    <a:pt x="469583" y="876300"/>
                  </a:lnTo>
                  <a:lnTo>
                    <a:pt x="231458" y="876300"/>
                  </a:lnTo>
                  <a:lnTo>
                    <a:pt x="231458" y="24193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</p:grp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7AB9F058-D4DE-480B-BD74-93881741C28D}"/>
              </a:ext>
            </a:extLst>
          </p:cNvPr>
          <p:cNvCxnSpPr/>
          <p:nvPr/>
        </p:nvCxnSpPr>
        <p:spPr>
          <a:xfrm>
            <a:off x="4146133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図 12">
            <a:extLst>
              <a:ext uri="{FF2B5EF4-FFF2-40B4-BE49-F238E27FC236}">
                <a16:creationId xmlns:a16="http://schemas.microsoft.com/office/drawing/2014/main" id="{B934DCEF-DB38-473A-B3B0-99904FE0FD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11" y="6518091"/>
            <a:ext cx="1047968" cy="262068"/>
          </a:xfrm>
          <a:prstGeom prst="rect">
            <a:avLst/>
          </a:prstGeom>
        </p:spPr>
      </p:pic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034C8CD6-5969-45CD-A283-B5A7DE98AD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4123" y="1088773"/>
            <a:ext cx="5396140" cy="5148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FB8D72E0-EB1F-4C56-9B8C-255C7E5FFC1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445139" y="1088773"/>
            <a:ext cx="5304183" cy="5148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4A1F6A-DB1A-46B4-A1C9-2A55C9B2C111}"/>
              </a:ext>
            </a:extLst>
          </p:cNvPr>
          <p:cNvSpPr txBox="1"/>
          <p:nvPr/>
        </p:nvSpPr>
        <p:spPr>
          <a:xfrm>
            <a:off x="4304405" y="6565124"/>
            <a:ext cx="1009367" cy="15385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indent="0" algn="l" defTabSz="914126" eaLnBrk="0" hangingPunct="0">
              <a:lnSpc>
                <a:spcPct val="100000"/>
              </a:lnSpc>
              <a:spcBef>
                <a:spcPts val="0"/>
              </a:spcBef>
              <a:buClr>
                <a:srgbClr val="003366"/>
              </a:buClr>
              <a:buSzPct val="100000"/>
              <a:buFontTx/>
              <a:buNone/>
            </a:pPr>
            <a:fld id="{1EBF441E-4961-49F4-A3C1-D6120246FD6D}" type="slidenum">
              <a:rPr kumimoji="0" lang="de-DE" sz="999" smtClean="0">
                <a:solidFill>
                  <a:srgbClr val="FFFFFF"/>
                </a:solidFill>
                <a:latin typeface="+mn-lt"/>
                <a:ea typeface="ＭＳ Ｐゴシック"/>
              </a:rPr>
              <a:pPr marL="0" indent="0" algn="l" defTabSz="914126" eaLnBrk="0" hangingPunct="0">
                <a:lnSpc>
                  <a:spcPct val="100000"/>
                </a:lnSpc>
                <a:spcBef>
                  <a:spcPts val="0"/>
                </a:spcBef>
                <a:buClr>
                  <a:srgbClr val="003366"/>
                </a:buClr>
                <a:buSzPct val="100000"/>
                <a:buFontTx/>
                <a:buNone/>
              </a:pPr>
              <a:t>‹#›</a:t>
            </a:fld>
            <a:endParaRPr kumimoji="0" lang="de-DE" sz="999" dirty="0">
              <a:solidFill>
                <a:srgbClr val="FFFFFF"/>
              </a:solidFill>
              <a:latin typeface="+mn-l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720530857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_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7192556-69BF-4344-A94E-BB2B4804D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937898"/>
              </p:ext>
            </p:ext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1" imgH="298" progId="TCLayout.ActiveDocument.1">
                  <p:embed/>
                </p:oleObj>
              </mc:Choice>
              <mc:Fallback>
                <p:oleObj name="think-cell Folie" r:id="rId3" imgW="301" imgH="29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7192556-69BF-4344-A94E-BB2B4804D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A590B781-1D26-4210-AEA6-FFD10BAFB7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" y="0"/>
            <a:ext cx="12198349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888D68E-18DA-4A76-AE18-C80B0E2C8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0" name="直線コネクタ 20">
            <a:extLst>
              <a:ext uri="{FF2B5EF4-FFF2-40B4-BE49-F238E27FC236}">
                <a16:creationId xmlns:a16="http://schemas.microsoft.com/office/drawing/2014/main" id="{32604142-8618-42AD-A236-950A3F1CE842}"/>
              </a:ext>
            </a:extLst>
          </p:cNvPr>
          <p:cNvCxnSpPr/>
          <p:nvPr/>
        </p:nvCxnSpPr>
        <p:spPr>
          <a:xfrm>
            <a:off x="1546821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フッター プレースホルダー 3">
            <a:extLst>
              <a:ext uri="{FF2B5EF4-FFF2-40B4-BE49-F238E27FC236}">
                <a16:creationId xmlns:a16="http://schemas.microsoft.com/office/drawing/2014/main" id="{A7081127-0940-4136-BF14-F72D1DE9947D}"/>
              </a:ext>
            </a:extLst>
          </p:cNvPr>
          <p:cNvSpPr txBox="1">
            <a:spLocks/>
          </p:cNvSpPr>
          <p:nvPr/>
        </p:nvSpPr>
        <p:spPr>
          <a:xfrm>
            <a:off x="2888559" y="6565124"/>
            <a:ext cx="1134336" cy="15385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1089325" rtl="0" eaLnBrk="1" latinLnBrk="0" hangingPunct="1">
              <a:defRPr kumimoji="1"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4466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9325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98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864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331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974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263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729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999" dirty="0">
                <a:solidFill>
                  <a:srgbClr val="FFFFFF"/>
                </a:solidFill>
                <a:latin typeface="+mj-lt"/>
                <a:ea typeface="メイリオ" pitchFamily="50" charset="-128"/>
                <a:cs typeface="メイリオ" pitchFamily="50" charset="-128"/>
              </a:rPr>
              <a:t>R&amp;D Center Europe</a:t>
            </a:r>
          </a:p>
        </p:txBody>
      </p:sp>
      <p:cxnSp>
        <p:nvCxnSpPr>
          <p:cNvPr id="12" name="直線コネクタ 20">
            <a:extLst>
              <a:ext uri="{FF2B5EF4-FFF2-40B4-BE49-F238E27FC236}">
                <a16:creationId xmlns:a16="http://schemas.microsoft.com/office/drawing/2014/main" id="{FA9CDE76-8256-46C4-B458-0E8857461091}"/>
              </a:ext>
            </a:extLst>
          </p:cNvPr>
          <p:cNvCxnSpPr/>
          <p:nvPr/>
        </p:nvCxnSpPr>
        <p:spPr>
          <a:xfrm>
            <a:off x="2737166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C1F1B6E-67B4-4E9E-A855-3FCBB84D5EF1}"/>
              </a:ext>
            </a:extLst>
          </p:cNvPr>
          <p:cNvGrpSpPr/>
          <p:nvPr/>
        </p:nvGrpSpPr>
        <p:grpSpPr>
          <a:xfrm>
            <a:off x="1724667" y="6539652"/>
            <a:ext cx="824326" cy="204798"/>
            <a:chOff x="3688714" y="2829719"/>
            <a:chExt cx="4824412" cy="1198244"/>
          </a:xfrm>
          <a:solidFill>
            <a:srgbClr val="003366"/>
          </a:solidFill>
        </p:grpSpPr>
        <p:sp>
          <p:nvSpPr>
            <p:cNvPr id="14" name="Grafik 3">
              <a:extLst>
                <a:ext uri="{FF2B5EF4-FFF2-40B4-BE49-F238E27FC236}">
                  <a16:creationId xmlns:a16="http://schemas.microsoft.com/office/drawing/2014/main" id="{BD23C64E-B10D-4D4E-A280-B8E27FEF963A}"/>
                </a:ext>
              </a:extLst>
            </p:cNvPr>
            <p:cNvSpPr/>
            <p:nvPr/>
          </p:nvSpPr>
          <p:spPr>
            <a:xfrm>
              <a:off x="4019231" y="2829719"/>
              <a:ext cx="567690" cy="643889"/>
            </a:xfrm>
            <a:custGeom>
              <a:avLst/>
              <a:gdLst>
                <a:gd name="connsiteX0" fmla="*/ 567690 w 567690"/>
                <a:gd name="connsiteY0" fmla="*/ 180023 h 643889"/>
                <a:gd name="connsiteX1" fmla="*/ 567690 w 567690"/>
                <a:gd name="connsiteY1" fmla="*/ 463868 h 643889"/>
                <a:gd name="connsiteX2" fmla="*/ 562928 w 567690"/>
                <a:gd name="connsiteY2" fmla="*/ 482918 h 643889"/>
                <a:gd name="connsiteX3" fmla="*/ 548640 w 567690"/>
                <a:gd name="connsiteY3" fmla="*/ 497205 h 643889"/>
                <a:gd name="connsiteX4" fmla="*/ 302895 w 567690"/>
                <a:gd name="connsiteY4" fmla="*/ 639128 h 643889"/>
                <a:gd name="connsiteX5" fmla="*/ 283845 w 567690"/>
                <a:gd name="connsiteY5" fmla="*/ 643890 h 643889"/>
                <a:gd name="connsiteX6" fmla="*/ 264795 w 567690"/>
                <a:gd name="connsiteY6" fmla="*/ 639128 h 643889"/>
                <a:gd name="connsiteX7" fmla="*/ 18098 w 567690"/>
                <a:gd name="connsiteY7" fmla="*/ 497205 h 643889"/>
                <a:gd name="connsiteX8" fmla="*/ 4763 w 567690"/>
                <a:gd name="connsiteY8" fmla="*/ 483870 h 643889"/>
                <a:gd name="connsiteX9" fmla="*/ 0 w 567690"/>
                <a:gd name="connsiteY9" fmla="*/ 464820 h 643889"/>
                <a:gd name="connsiteX10" fmla="*/ 0 w 567690"/>
                <a:gd name="connsiteY10" fmla="*/ 180023 h 643889"/>
                <a:gd name="connsiteX11" fmla="*/ 4763 w 567690"/>
                <a:gd name="connsiteY11" fmla="*/ 160973 h 643889"/>
                <a:gd name="connsiteX12" fmla="*/ 19050 w 567690"/>
                <a:gd name="connsiteY12" fmla="*/ 146685 h 643889"/>
                <a:gd name="connsiteX13" fmla="*/ 263843 w 567690"/>
                <a:gd name="connsiteY13" fmla="*/ 4763 h 643889"/>
                <a:gd name="connsiteX14" fmla="*/ 282893 w 567690"/>
                <a:gd name="connsiteY14" fmla="*/ 0 h 643889"/>
                <a:gd name="connsiteX15" fmla="*/ 301943 w 567690"/>
                <a:gd name="connsiteY15" fmla="*/ 4763 h 643889"/>
                <a:gd name="connsiteX16" fmla="*/ 547688 w 567690"/>
                <a:gd name="connsiteY16" fmla="*/ 146685 h 643889"/>
                <a:gd name="connsiteX17" fmla="*/ 561023 w 567690"/>
                <a:gd name="connsiteY17" fmla="*/ 160020 h 643889"/>
                <a:gd name="connsiteX18" fmla="*/ 567690 w 567690"/>
                <a:gd name="connsiteY18" fmla="*/ 180023 h 6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3889">
                  <a:moveTo>
                    <a:pt x="567690" y="180023"/>
                  </a:moveTo>
                  <a:lnTo>
                    <a:pt x="567690" y="463868"/>
                  </a:lnTo>
                  <a:cubicBezTo>
                    <a:pt x="567690" y="470535"/>
                    <a:pt x="565785" y="477203"/>
                    <a:pt x="562928" y="482918"/>
                  </a:cubicBezTo>
                  <a:cubicBezTo>
                    <a:pt x="559118" y="488633"/>
                    <a:pt x="554355" y="493395"/>
                    <a:pt x="548640" y="497205"/>
                  </a:cubicBezTo>
                  <a:lnTo>
                    <a:pt x="302895" y="639128"/>
                  </a:lnTo>
                  <a:cubicBezTo>
                    <a:pt x="297180" y="641985"/>
                    <a:pt x="290513" y="643890"/>
                    <a:pt x="283845" y="643890"/>
                  </a:cubicBezTo>
                  <a:cubicBezTo>
                    <a:pt x="277178" y="643890"/>
                    <a:pt x="270510" y="641985"/>
                    <a:pt x="264795" y="639128"/>
                  </a:cubicBezTo>
                  <a:lnTo>
                    <a:pt x="18098" y="497205"/>
                  </a:lnTo>
                  <a:cubicBezTo>
                    <a:pt x="12382" y="494348"/>
                    <a:pt x="7620" y="489585"/>
                    <a:pt x="4763" y="483870"/>
                  </a:cubicBezTo>
                  <a:cubicBezTo>
                    <a:pt x="953" y="478155"/>
                    <a:pt x="0" y="471488"/>
                    <a:pt x="0" y="464820"/>
                  </a:cubicBezTo>
                  <a:lnTo>
                    <a:pt x="0" y="180023"/>
                  </a:lnTo>
                  <a:cubicBezTo>
                    <a:pt x="0" y="173355"/>
                    <a:pt x="1905" y="166688"/>
                    <a:pt x="4763" y="160973"/>
                  </a:cubicBezTo>
                  <a:cubicBezTo>
                    <a:pt x="8573" y="155258"/>
                    <a:pt x="13335" y="150495"/>
                    <a:pt x="19050" y="146685"/>
                  </a:cubicBezTo>
                  <a:lnTo>
                    <a:pt x="263843" y="4763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4763"/>
                  </a:cubicBezTo>
                  <a:lnTo>
                    <a:pt x="547688" y="146685"/>
                  </a:lnTo>
                  <a:cubicBezTo>
                    <a:pt x="553403" y="149543"/>
                    <a:pt x="558165" y="154305"/>
                    <a:pt x="561023" y="160020"/>
                  </a:cubicBezTo>
                  <a:cubicBezTo>
                    <a:pt x="565785" y="167640"/>
                    <a:pt x="567690" y="173355"/>
                    <a:pt x="567690" y="18002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5" name="Grafik 3">
              <a:extLst>
                <a:ext uri="{FF2B5EF4-FFF2-40B4-BE49-F238E27FC236}">
                  <a16:creationId xmlns:a16="http://schemas.microsoft.com/office/drawing/2014/main" id="{8C7D6741-E300-40D7-9646-F9C7BAD90A3F}"/>
                </a:ext>
              </a:extLst>
            </p:cNvPr>
            <p:cNvSpPr/>
            <p:nvPr/>
          </p:nvSpPr>
          <p:spPr>
            <a:xfrm>
              <a:off x="3688714" y="3383121"/>
              <a:ext cx="567690" cy="644842"/>
            </a:xfrm>
            <a:custGeom>
              <a:avLst/>
              <a:gdLst>
                <a:gd name="connsiteX0" fmla="*/ 567690 w 567690"/>
                <a:gd name="connsiteY0" fmla="*/ 180975 h 644842"/>
                <a:gd name="connsiteX1" fmla="*/ 567690 w 567690"/>
                <a:gd name="connsiteY1" fmla="*/ 464820 h 644842"/>
                <a:gd name="connsiteX2" fmla="*/ 562928 w 567690"/>
                <a:gd name="connsiteY2" fmla="*/ 483870 h 644842"/>
                <a:gd name="connsiteX3" fmla="*/ 548640 w 567690"/>
                <a:gd name="connsiteY3" fmla="*/ 498158 h 644842"/>
                <a:gd name="connsiteX4" fmla="*/ 302895 w 567690"/>
                <a:gd name="connsiteY4" fmla="*/ 640080 h 644842"/>
                <a:gd name="connsiteX5" fmla="*/ 283845 w 567690"/>
                <a:gd name="connsiteY5" fmla="*/ 644843 h 644842"/>
                <a:gd name="connsiteX6" fmla="*/ 264795 w 567690"/>
                <a:gd name="connsiteY6" fmla="*/ 640080 h 644842"/>
                <a:gd name="connsiteX7" fmla="*/ 18098 w 567690"/>
                <a:gd name="connsiteY7" fmla="*/ 498158 h 644842"/>
                <a:gd name="connsiteX8" fmla="*/ 4763 w 567690"/>
                <a:gd name="connsiteY8" fmla="*/ 484823 h 644842"/>
                <a:gd name="connsiteX9" fmla="*/ 0 w 567690"/>
                <a:gd name="connsiteY9" fmla="*/ 465773 h 644842"/>
                <a:gd name="connsiteX10" fmla="*/ 0 w 567690"/>
                <a:gd name="connsiteY10" fmla="*/ 180975 h 644842"/>
                <a:gd name="connsiteX11" fmla="*/ 4763 w 567690"/>
                <a:gd name="connsiteY11" fmla="*/ 161925 h 644842"/>
                <a:gd name="connsiteX12" fmla="*/ 18098 w 567690"/>
                <a:gd name="connsiteY12" fmla="*/ 147638 h 644842"/>
                <a:gd name="connsiteX13" fmla="*/ 263843 w 567690"/>
                <a:gd name="connsiteY13" fmla="*/ 5715 h 644842"/>
                <a:gd name="connsiteX14" fmla="*/ 282893 w 567690"/>
                <a:gd name="connsiteY14" fmla="*/ 0 h 644842"/>
                <a:gd name="connsiteX15" fmla="*/ 301943 w 567690"/>
                <a:gd name="connsiteY15" fmla="*/ 5715 h 644842"/>
                <a:gd name="connsiteX16" fmla="*/ 548640 w 567690"/>
                <a:gd name="connsiteY16" fmla="*/ 147638 h 644842"/>
                <a:gd name="connsiteX17" fmla="*/ 561975 w 567690"/>
                <a:gd name="connsiteY17" fmla="*/ 160973 h 644842"/>
                <a:gd name="connsiteX18" fmla="*/ 567690 w 567690"/>
                <a:gd name="connsiteY18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4842">
                  <a:moveTo>
                    <a:pt x="567690" y="180975"/>
                  </a:moveTo>
                  <a:lnTo>
                    <a:pt x="567690" y="464820"/>
                  </a:lnTo>
                  <a:cubicBezTo>
                    <a:pt x="567690" y="471488"/>
                    <a:pt x="565785" y="478155"/>
                    <a:pt x="562928" y="483870"/>
                  </a:cubicBezTo>
                  <a:cubicBezTo>
                    <a:pt x="559118" y="489585"/>
                    <a:pt x="554355" y="494348"/>
                    <a:pt x="548640" y="498158"/>
                  </a:cubicBezTo>
                  <a:lnTo>
                    <a:pt x="302895" y="640080"/>
                  </a:lnTo>
                  <a:cubicBezTo>
                    <a:pt x="297180" y="643890"/>
                    <a:pt x="290513" y="644843"/>
                    <a:pt x="283845" y="644843"/>
                  </a:cubicBezTo>
                  <a:cubicBezTo>
                    <a:pt x="277178" y="644843"/>
                    <a:pt x="270510" y="642938"/>
                    <a:pt x="264795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4823"/>
                  </a:cubicBezTo>
                  <a:cubicBezTo>
                    <a:pt x="953" y="479108"/>
                    <a:pt x="0" y="472440"/>
                    <a:pt x="0" y="465773"/>
                  </a:cubicBez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7620" y="156210"/>
                    <a:pt x="12383" y="151448"/>
                    <a:pt x="18098" y="147638"/>
                  </a:cubicBezTo>
                  <a:lnTo>
                    <a:pt x="263843" y="5715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5715"/>
                  </a:cubicBezTo>
                  <a:lnTo>
                    <a:pt x="548640" y="147638"/>
                  </a:lnTo>
                  <a:cubicBezTo>
                    <a:pt x="554355" y="150495"/>
                    <a:pt x="559118" y="155258"/>
                    <a:pt x="561975" y="160973"/>
                  </a:cubicBezTo>
                  <a:cubicBezTo>
                    <a:pt x="565785" y="167640"/>
                    <a:pt x="567690" y="174308"/>
                    <a:pt x="567690" y="1809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6" name="Grafik 3">
              <a:extLst>
                <a:ext uri="{FF2B5EF4-FFF2-40B4-BE49-F238E27FC236}">
                  <a16:creationId xmlns:a16="http://schemas.microsoft.com/office/drawing/2014/main" id="{22EE2C74-BFCB-40EA-A508-482D1FAC55EB}"/>
                </a:ext>
              </a:extLst>
            </p:cNvPr>
            <p:cNvSpPr/>
            <p:nvPr/>
          </p:nvSpPr>
          <p:spPr>
            <a:xfrm>
              <a:off x="4340224" y="3383121"/>
              <a:ext cx="566737" cy="644842"/>
            </a:xfrm>
            <a:custGeom>
              <a:avLst/>
              <a:gdLst>
                <a:gd name="connsiteX0" fmla="*/ 566738 w 566737"/>
                <a:gd name="connsiteY0" fmla="*/ 180975 h 644842"/>
                <a:gd name="connsiteX1" fmla="*/ 566738 w 566737"/>
                <a:gd name="connsiteY1" fmla="*/ 464820 h 644842"/>
                <a:gd name="connsiteX2" fmla="*/ 561975 w 566737"/>
                <a:gd name="connsiteY2" fmla="*/ 483870 h 644842"/>
                <a:gd name="connsiteX3" fmla="*/ 547688 w 566737"/>
                <a:gd name="connsiteY3" fmla="*/ 498158 h 644842"/>
                <a:gd name="connsiteX4" fmla="*/ 301942 w 566737"/>
                <a:gd name="connsiteY4" fmla="*/ 640080 h 644842"/>
                <a:gd name="connsiteX5" fmla="*/ 282892 w 566737"/>
                <a:gd name="connsiteY5" fmla="*/ 644843 h 644842"/>
                <a:gd name="connsiteX6" fmla="*/ 263842 w 566737"/>
                <a:gd name="connsiteY6" fmla="*/ 640080 h 644842"/>
                <a:gd name="connsiteX7" fmla="*/ 18098 w 566737"/>
                <a:gd name="connsiteY7" fmla="*/ 498158 h 644842"/>
                <a:gd name="connsiteX8" fmla="*/ 4763 w 566737"/>
                <a:gd name="connsiteY8" fmla="*/ 483870 h 644842"/>
                <a:gd name="connsiteX9" fmla="*/ 0 w 566737"/>
                <a:gd name="connsiteY9" fmla="*/ 464820 h 644842"/>
                <a:gd name="connsiteX10" fmla="*/ 0 w 566737"/>
                <a:gd name="connsiteY10" fmla="*/ 322898 h 644842"/>
                <a:gd name="connsiteX11" fmla="*/ 0 w 566737"/>
                <a:gd name="connsiteY11" fmla="*/ 180975 h 644842"/>
                <a:gd name="connsiteX12" fmla="*/ 4763 w 566737"/>
                <a:gd name="connsiteY12" fmla="*/ 161925 h 644842"/>
                <a:gd name="connsiteX13" fmla="*/ 19050 w 566737"/>
                <a:gd name="connsiteY13" fmla="*/ 147638 h 644842"/>
                <a:gd name="connsiteX14" fmla="*/ 264795 w 566737"/>
                <a:gd name="connsiteY14" fmla="*/ 5715 h 644842"/>
                <a:gd name="connsiteX15" fmla="*/ 283845 w 566737"/>
                <a:gd name="connsiteY15" fmla="*/ 0 h 644842"/>
                <a:gd name="connsiteX16" fmla="*/ 302895 w 566737"/>
                <a:gd name="connsiteY16" fmla="*/ 5715 h 644842"/>
                <a:gd name="connsiteX17" fmla="*/ 547688 w 566737"/>
                <a:gd name="connsiteY17" fmla="*/ 148590 h 644842"/>
                <a:gd name="connsiteX18" fmla="*/ 561023 w 566737"/>
                <a:gd name="connsiteY18" fmla="*/ 161925 h 644842"/>
                <a:gd name="connsiteX19" fmla="*/ 566738 w 566737"/>
                <a:gd name="connsiteY19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66737" h="644842">
                  <a:moveTo>
                    <a:pt x="566738" y="180975"/>
                  </a:moveTo>
                  <a:lnTo>
                    <a:pt x="566738" y="464820"/>
                  </a:lnTo>
                  <a:cubicBezTo>
                    <a:pt x="566738" y="471488"/>
                    <a:pt x="564833" y="478155"/>
                    <a:pt x="561975" y="483870"/>
                  </a:cubicBezTo>
                  <a:cubicBezTo>
                    <a:pt x="558165" y="489585"/>
                    <a:pt x="553403" y="494348"/>
                    <a:pt x="547688" y="498158"/>
                  </a:cubicBezTo>
                  <a:lnTo>
                    <a:pt x="301942" y="640080"/>
                  </a:lnTo>
                  <a:cubicBezTo>
                    <a:pt x="296228" y="643890"/>
                    <a:pt x="289560" y="644843"/>
                    <a:pt x="282892" y="644843"/>
                  </a:cubicBezTo>
                  <a:cubicBezTo>
                    <a:pt x="276225" y="644843"/>
                    <a:pt x="269558" y="642938"/>
                    <a:pt x="263842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3870"/>
                  </a:cubicBezTo>
                  <a:cubicBezTo>
                    <a:pt x="952" y="478155"/>
                    <a:pt x="0" y="471488"/>
                    <a:pt x="0" y="464820"/>
                  </a:cubicBezTo>
                  <a:lnTo>
                    <a:pt x="0" y="322898"/>
                  </a:ln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8573" y="156210"/>
                    <a:pt x="13335" y="151448"/>
                    <a:pt x="19050" y="147638"/>
                  </a:cubicBezTo>
                  <a:lnTo>
                    <a:pt x="264795" y="5715"/>
                  </a:lnTo>
                  <a:cubicBezTo>
                    <a:pt x="270510" y="2858"/>
                    <a:pt x="277178" y="0"/>
                    <a:pt x="283845" y="0"/>
                  </a:cubicBezTo>
                  <a:cubicBezTo>
                    <a:pt x="290513" y="0"/>
                    <a:pt x="297180" y="1905"/>
                    <a:pt x="302895" y="5715"/>
                  </a:cubicBezTo>
                  <a:lnTo>
                    <a:pt x="547688" y="148590"/>
                  </a:lnTo>
                  <a:cubicBezTo>
                    <a:pt x="553403" y="151448"/>
                    <a:pt x="558165" y="156210"/>
                    <a:pt x="561023" y="161925"/>
                  </a:cubicBezTo>
                  <a:cubicBezTo>
                    <a:pt x="564833" y="167640"/>
                    <a:pt x="566738" y="174308"/>
                    <a:pt x="566738" y="1809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7" name="Grafik 3">
              <a:extLst>
                <a:ext uri="{FF2B5EF4-FFF2-40B4-BE49-F238E27FC236}">
                  <a16:creationId xmlns:a16="http://schemas.microsoft.com/office/drawing/2014/main" id="{B61C4DCF-39A4-4BC2-9691-EE45365360A6}"/>
                </a:ext>
              </a:extLst>
            </p:cNvPr>
            <p:cNvSpPr/>
            <p:nvPr/>
          </p:nvSpPr>
          <p:spPr>
            <a:xfrm>
              <a:off x="6739571" y="2990691"/>
              <a:ext cx="1374457" cy="878204"/>
            </a:xfrm>
            <a:custGeom>
              <a:avLst/>
              <a:gdLst>
                <a:gd name="connsiteX0" fmla="*/ 239078 w 1374457"/>
                <a:gd name="connsiteY0" fmla="*/ 635318 h 878204"/>
                <a:gd name="connsiteX1" fmla="*/ 244793 w 1374457"/>
                <a:gd name="connsiteY1" fmla="*/ 679133 h 878204"/>
                <a:gd name="connsiteX2" fmla="*/ 262890 w 1374457"/>
                <a:gd name="connsiteY2" fmla="*/ 717233 h 878204"/>
                <a:gd name="connsiteX3" fmla="*/ 294322 w 1374457"/>
                <a:gd name="connsiteY3" fmla="*/ 744855 h 878204"/>
                <a:gd name="connsiteX4" fmla="*/ 340995 w 1374457"/>
                <a:gd name="connsiteY4" fmla="*/ 755333 h 878204"/>
                <a:gd name="connsiteX5" fmla="*/ 1374458 w 1374457"/>
                <a:gd name="connsiteY5" fmla="*/ 755333 h 878204"/>
                <a:gd name="connsiteX6" fmla="*/ 1374458 w 1374457"/>
                <a:gd name="connsiteY6" fmla="*/ 878205 h 878204"/>
                <a:gd name="connsiteX7" fmla="*/ 258128 w 1374457"/>
                <a:gd name="connsiteY7" fmla="*/ 878205 h 878204"/>
                <a:gd name="connsiteX8" fmla="*/ 140018 w 1374457"/>
                <a:gd name="connsiteY8" fmla="*/ 858203 h 878204"/>
                <a:gd name="connsiteX9" fmla="*/ 60008 w 1374457"/>
                <a:gd name="connsiteY9" fmla="*/ 805815 h 878204"/>
                <a:gd name="connsiteX10" fmla="*/ 14288 w 1374457"/>
                <a:gd name="connsiteY10" fmla="*/ 728663 h 878204"/>
                <a:gd name="connsiteX11" fmla="*/ 0 w 1374457"/>
                <a:gd name="connsiteY11" fmla="*/ 636270 h 878204"/>
                <a:gd name="connsiteX12" fmla="*/ 0 w 1374457"/>
                <a:gd name="connsiteY12" fmla="*/ 0 h 878204"/>
                <a:gd name="connsiteX13" fmla="*/ 238125 w 1374457"/>
                <a:gd name="connsiteY13" fmla="*/ 0 h 878204"/>
                <a:gd name="connsiteX14" fmla="*/ 238125 w 1374457"/>
                <a:gd name="connsiteY14" fmla="*/ 635318 h 878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4457" h="878204">
                  <a:moveTo>
                    <a:pt x="239078" y="635318"/>
                  </a:moveTo>
                  <a:cubicBezTo>
                    <a:pt x="239078" y="649605"/>
                    <a:pt x="240983" y="664845"/>
                    <a:pt x="244793" y="679133"/>
                  </a:cubicBezTo>
                  <a:cubicBezTo>
                    <a:pt x="248603" y="693420"/>
                    <a:pt x="254318" y="705803"/>
                    <a:pt x="262890" y="717233"/>
                  </a:cubicBezTo>
                  <a:cubicBezTo>
                    <a:pt x="270510" y="728663"/>
                    <a:pt x="280988" y="737235"/>
                    <a:pt x="294322" y="744855"/>
                  </a:cubicBezTo>
                  <a:cubicBezTo>
                    <a:pt x="307658" y="751523"/>
                    <a:pt x="322897" y="755333"/>
                    <a:pt x="340995" y="755333"/>
                  </a:cubicBezTo>
                  <a:lnTo>
                    <a:pt x="1374458" y="755333"/>
                  </a:lnTo>
                  <a:lnTo>
                    <a:pt x="1374458" y="878205"/>
                  </a:lnTo>
                  <a:lnTo>
                    <a:pt x="258128" y="878205"/>
                  </a:lnTo>
                  <a:cubicBezTo>
                    <a:pt x="212408" y="878205"/>
                    <a:pt x="173355" y="871538"/>
                    <a:pt x="140018" y="858203"/>
                  </a:cubicBezTo>
                  <a:cubicBezTo>
                    <a:pt x="107633" y="845820"/>
                    <a:pt x="80963" y="827723"/>
                    <a:pt x="60008" y="805815"/>
                  </a:cubicBezTo>
                  <a:cubicBezTo>
                    <a:pt x="39053" y="782955"/>
                    <a:pt x="24765" y="757238"/>
                    <a:pt x="14288" y="728663"/>
                  </a:cubicBezTo>
                  <a:cubicBezTo>
                    <a:pt x="4763" y="700088"/>
                    <a:pt x="0" y="668655"/>
                    <a:pt x="0" y="636270"/>
                  </a:cubicBezTo>
                  <a:lnTo>
                    <a:pt x="0" y="0"/>
                  </a:lnTo>
                  <a:lnTo>
                    <a:pt x="238125" y="0"/>
                  </a:lnTo>
                  <a:lnTo>
                    <a:pt x="238125" y="63531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8" name="Grafik 3">
              <a:extLst>
                <a:ext uri="{FF2B5EF4-FFF2-40B4-BE49-F238E27FC236}">
                  <a16:creationId xmlns:a16="http://schemas.microsoft.com/office/drawing/2014/main" id="{90E358AD-A90C-4276-97ED-AAF6728EE640}"/>
                </a:ext>
              </a:extLst>
            </p:cNvPr>
            <p:cNvSpPr/>
            <p:nvPr/>
          </p:nvSpPr>
          <p:spPr>
            <a:xfrm>
              <a:off x="5157469" y="2990691"/>
              <a:ext cx="1374457" cy="879157"/>
            </a:xfrm>
            <a:custGeom>
              <a:avLst/>
              <a:gdLst>
                <a:gd name="connsiteX0" fmla="*/ 239077 w 1374457"/>
                <a:gd name="connsiteY0" fmla="*/ 241935 h 879157"/>
                <a:gd name="connsiteX1" fmla="*/ 244792 w 1374457"/>
                <a:gd name="connsiteY1" fmla="*/ 198120 h 879157"/>
                <a:gd name="connsiteX2" fmla="*/ 262890 w 1374457"/>
                <a:gd name="connsiteY2" fmla="*/ 160020 h 879157"/>
                <a:gd name="connsiteX3" fmla="*/ 294322 w 1374457"/>
                <a:gd name="connsiteY3" fmla="*/ 132398 h 879157"/>
                <a:gd name="connsiteX4" fmla="*/ 340995 w 1374457"/>
                <a:gd name="connsiteY4" fmla="*/ 121920 h 879157"/>
                <a:gd name="connsiteX5" fmla="*/ 1374458 w 1374457"/>
                <a:gd name="connsiteY5" fmla="*/ 121920 h 879157"/>
                <a:gd name="connsiteX6" fmla="*/ 1374458 w 1374457"/>
                <a:gd name="connsiteY6" fmla="*/ 0 h 879157"/>
                <a:gd name="connsiteX7" fmla="*/ 258127 w 1374457"/>
                <a:gd name="connsiteY7" fmla="*/ 0 h 879157"/>
                <a:gd name="connsiteX8" fmla="*/ 140017 w 1374457"/>
                <a:gd name="connsiteY8" fmla="*/ 20003 h 879157"/>
                <a:gd name="connsiteX9" fmla="*/ 60008 w 1374457"/>
                <a:gd name="connsiteY9" fmla="*/ 72390 h 879157"/>
                <a:gd name="connsiteX10" fmla="*/ 14288 w 1374457"/>
                <a:gd name="connsiteY10" fmla="*/ 149542 h 879157"/>
                <a:gd name="connsiteX11" fmla="*/ 0 w 1374457"/>
                <a:gd name="connsiteY11" fmla="*/ 241935 h 879157"/>
                <a:gd name="connsiteX12" fmla="*/ 0 w 1374457"/>
                <a:gd name="connsiteY12" fmla="*/ 258128 h 879157"/>
                <a:gd name="connsiteX13" fmla="*/ 14288 w 1374457"/>
                <a:gd name="connsiteY13" fmla="*/ 350520 h 879157"/>
                <a:gd name="connsiteX14" fmla="*/ 60008 w 1374457"/>
                <a:gd name="connsiteY14" fmla="*/ 427673 h 879157"/>
                <a:gd name="connsiteX15" fmla="*/ 140017 w 1374457"/>
                <a:gd name="connsiteY15" fmla="*/ 480060 h 879157"/>
                <a:gd name="connsiteX16" fmla="*/ 258127 w 1374457"/>
                <a:gd name="connsiteY16" fmla="*/ 500063 h 879157"/>
                <a:gd name="connsiteX17" fmla="*/ 1034415 w 1374457"/>
                <a:gd name="connsiteY17" fmla="*/ 500063 h 879157"/>
                <a:gd name="connsiteX18" fmla="*/ 1081087 w 1374457"/>
                <a:gd name="connsiteY18" fmla="*/ 510540 h 879157"/>
                <a:gd name="connsiteX19" fmla="*/ 1112520 w 1374457"/>
                <a:gd name="connsiteY19" fmla="*/ 538163 h 879157"/>
                <a:gd name="connsiteX20" fmla="*/ 1130618 w 1374457"/>
                <a:gd name="connsiteY20" fmla="*/ 576263 h 879157"/>
                <a:gd name="connsiteX21" fmla="*/ 1136333 w 1374457"/>
                <a:gd name="connsiteY21" fmla="*/ 620078 h 879157"/>
                <a:gd name="connsiteX22" fmla="*/ 1136333 w 1374457"/>
                <a:gd name="connsiteY22" fmla="*/ 636270 h 879157"/>
                <a:gd name="connsiteX23" fmla="*/ 1130618 w 1374457"/>
                <a:gd name="connsiteY23" fmla="*/ 680085 h 879157"/>
                <a:gd name="connsiteX24" fmla="*/ 1112520 w 1374457"/>
                <a:gd name="connsiteY24" fmla="*/ 718185 h 879157"/>
                <a:gd name="connsiteX25" fmla="*/ 1081087 w 1374457"/>
                <a:gd name="connsiteY25" fmla="*/ 745808 h 879157"/>
                <a:gd name="connsiteX26" fmla="*/ 1034415 w 1374457"/>
                <a:gd name="connsiteY26" fmla="*/ 756285 h 879157"/>
                <a:gd name="connsiteX27" fmla="*/ 952 w 1374457"/>
                <a:gd name="connsiteY27" fmla="*/ 756285 h 879157"/>
                <a:gd name="connsiteX28" fmla="*/ 952 w 1374457"/>
                <a:gd name="connsiteY28" fmla="*/ 879158 h 879157"/>
                <a:gd name="connsiteX29" fmla="*/ 1116330 w 1374457"/>
                <a:gd name="connsiteY29" fmla="*/ 879158 h 879157"/>
                <a:gd name="connsiteX30" fmla="*/ 1234440 w 1374457"/>
                <a:gd name="connsiteY30" fmla="*/ 859155 h 879157"/>
                <a:gd name="connsiteX31" fmla="*/ 1314450 w 1374457"/>
                <a:gd name="connsiteY31" fmla="*/ 806768 h 879157"/>
                <a:gd name="connsiteX32" fmla="*/ 1360170 w 1374457"/>
                <a:gd name="connsiteY32" fmla="*/ 729615 h 879157"/>
                <a:gd name="connsiteX33" fmla="*/ 1374458 w 1374457"/>
                <a:gd name="connsiteY33" fmla="*/ 637223 h 879157"/>
                <a:gd name="connsiteX34" fmla="*/ 1374458 w 1374457"/>
                <a:gd name="connsiteY34" fmla="*/ 621030 h 879157"/>
                <a:gd name="connsiteX35" fmla="*/ 1360170 w 1374457"/>
                <a:gd name="connsiteY35" fmla="*/ 528638 h 879157"/>
                <a:gd name="connsiteX36" fmla="*/ 1314450 w 1374457"/>
                <a:gd name="connsiteY36" fmla="*/ 451485 h 879157"/>
                <a:gd name="connsiteX37" fmla="*/ 1234440 w 1374457"/>
                <a:gd name="connsiteY37" fmla="*/ 399098 h 879157"/>
                <a:gd name="connsiteX38" fmla="*/ 1116330 w 1374457"/>
                <a:gd name="connsiteY38" fmla="*/ 379095 h 879157"/>
                <a:gd name="connsiteX39" fmla="*/ 340042 w 1374457"/>
                <a:gd name="connsiteY39" fmla="*/ 379095 h 879157"/>
                <a:gd name="connsiteX40" fmla="*/ 293370 w 1374457"/>
                <a:gd name="connsiteY40" fmla="*/ 368618 h 879157"/>
                <a:gd name="connsiteX41" fmla="*/ 261938 w 1374457"/>
                <a:gd name="connsiteY41" fmla="*/ 340995 h 879157"/>
                <a:gd name="connsiteX42" fmla="*/ 243840 w 1374457"/>
                <a:gd name="connsiteY42" fmla="*/ 302895 h 879157"/>
                <a:gd name="connsiteX43" fmla="*/ 238125 w 1374457"/>
                <a:gd name="connsiteY43" fmla="*/ 259080 h 879157"/>
                <a:gd name="connsiteX44" fmla="*/ 238125 w 1374457"/>
                <a:gd name="connsiteY44" fmla="*/ 241935 h 87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74457" h="879157">
                  <a:moveTo>
                    <a:pt x="239077" y="241935"/>
                  </a:moveTo>
                  <a:cubicBezTo>
                    <a:pt x="239077" y="226695"/>
                    <a:pt x="240983" y="212408"/>
                    <a:pt x="244792" y="198120"/>
                  </a:cubicBezTo>
                  <a:cubicBezTo>
                    <a:pt x="248602" y="183833"/>
                    <a:pt x="254317" y="171450"/>
                    <a:pt x="262890" y="160020"/>
                  </a:cubicBezTo>
                  <a:cubicBezTo>
                    <a:pt x="270510" y="148590"/>
                    <a:pt x="281940" y="140018"/>
                    <a:pt x="294322" y="132398"/>
                  </a:cubicBezTo>
                  <a:cubicBezTo>
                    <a:pt x="307658" y="125730"/>
                    <a:pt x="322897" y="121920"/>
                    <a:pt x="340995" y="121920"/>
                  </a:cubicBezTo>
                  <a:lnTo>
                    <a:pt x="1374458" y="121920"/>
                  </a:lnTo>
                  <a:lnTo>
                    <a:pt x="1374458" y="0"/>
                  </a:lnTo>
                  <a:lnTo>
                    <a:pt x="258127" y="0"/>
                  </a:lnTo>
                  <a:cubicBezTo>
                    <a:pt x="212408" y="0"/>
                    <a:pt x="173355" y="6668"/>
                    <a:pt x="140017" y="20003"/>
                  </a:cubicBezTo>
                  <a:cubicBezTo>
                    <a:pt x="107633" y="32385"/>
                    <a:pt x="80963" y="50483"/>
                    <a:pt x="60008" y="72390"/>
                  </a:cubicBezTo>
                  <a:cubicBezTo>
                    <a:pt x="39052" y="95250"/>
                    <a:pt x="24765" y="120968"/>
                    <a:pt x="14288" y="149542"/>
                  </a:cubicBezTo>
                  <a:cubicBezTo>
                    <a:pt x="4763" y="178117"/>
                    <a:pt x="0" y="209550"/>
                    <a:pt x="0" y="241935"/>
                  </a:cubicBezTo>
                  <a:lnTo>
                    <a:pt x="0" y="258128"/>
                  </a:lnTo>
                  <a:cubicBezTo>
                    <a:pt x="0" y="290513"/>
                    <a:pt x="4763" y="321945"/>
                    <a:pt x="14288" y="350520"/>
                  </a:cubicBezTo>
                  <a:cubicBezTo>
                    <a:pt x="23813" y="379095"/>
                    <a:pt x="39052" y="404813"/>
                    <a:pt x="60008" y="427673"/>
                  </a:cubicBezTo>
                  <a:cubicBezTo>
                    <a:pt x="80963" y="449580"/>
                    <a:pt x="107633" y="467678"/>
                    <a:pt x="140017" y="480060"/>
                  </a:cubicBezTo>
                  <a:cubicBezTo>
                    <a:pt x="172402" y="493395"/>
                    <a:pt x="212408" y="499110"/>
                    <a:pt x="258127" y="500063"/>
                  </a:cubicBezTo>
                  <a:cubicBezTo>
                    <a:pt x="526733" y="500063"/>
                    <a:pt x="765810" y="500063"/>
                    <a:pt x="1034415" y="500063"/>
                  </a:cubicBezTo>
                  <a:cubicBezTo>
                    <a:pt x="1052512" y="500063"/>
                    <a:pt x="1067752" y="503873"/>
                    <a:pt x="1081087" y="510540"/>
                  </a:cubicBezTo>
                  <a:cubicBezTo>
                    <a:pt x="1093470" y="517207"/>
                    <a:pt x="1104900" y="526733"/>
                    <a:pt x="1112520" y="538163"/>
                  </a:cubicBezTo>
                  <a:cubicBezTo>
                    <a:pt x="1120140" y="549593"/>
                    <a:pt x="1126808" y="561975"/>
                    <a:pt x="1130618" y="576263"/>
                  </a:cubicBezTo>
                  <a:cubicBezTo>
                    <a:pt x="1134427" y="590550"/>
                    <a:pt x="1136333" y="604838"/>
                    <a:pt x="1136333" y="620078"/>
                  </a:cubicBezTo>
                  <a:lnTo>
                    <a:pt x="1136333" y="636270"/>
                  </a:lnTo>
                  <a:cubicBezTo>
                    <a:pt x="1136333" y="650558"/>
                    <a:pt x="1134427" y="665798"/>
                    <a:pt x="1130618" y="680085"/>
                  </a:cubicBezTo>
                  <a:cubicBezTo>
                    <a:pt x="1126808" y="694373"/>
                    <a:pt x="1121093" y="706755"/>
                    <a:pt x="1112520" y="718185"/>
                  </a:cubicBezTo>
                  <a:cubicBezTo>
                    <a:pt x="1104900" y="729615"/>
                    <a:pt x="1093470" y="738188"/>
                    <a:pt x="1081087" y="745808"/>
                  </a:cubicBezTo>
                  <a:cubicBezTo>
                    <a:pt x="1067752" y="752475"/>
                    <a:pt x="1052512" y="756285"/>
                    <a:pt x="1034415" y="756285"/>
                  </a:cubicBezTo>
                  <a:lnTo>
                    <a:pt x="952" y="756285"/>
                  </a:lnTo>
                  <a:lnTo>
                    <a:pt x="952" y="879158"/>
                  </a:lnTo>
                  <a:lnTo>
                    <a:pt x="1116330" y="879158"/>
                  </a:lnTo>
                  <a:cubicBezTo>
                    <a:pt x="1162050" y="879158"/>
                    <a:pt x="1201102" y="872490"/>
                    <a:pt x="1234440" y="859155"/>
                  </a:cubicBezTo>
                  <a:cubicBezTo>
                    <a:pt x="1266825" y="846773"/>
                    <a:pt x="1293495" y="828675"/>
                    <a:pt x="1314450" y="806768"/>
                  </a:cubicBezTo>
                  <a:cubicBezTo>
                    <a:pt x="1335405" y="783908"/>
                    <a:pt x="1349693" y="758190"/>
                    <a:pt x="1360170" y="729615"/>
                  </a:cubicBezTo>
                  <a:cubicBezTo>
                    <a:pt x="1369695" y="701040"/>
                    <a:pt x="1374458" y="669608"/>
                    <a:pt x="1374458" y="637223"/>
                  </a:cubicBezTo>
                  <a:lnTo>
                    <a:pt x="1374458" y="621030"/>
                  </a:lnTo>
                  <a:cubicBezTo>
                    <a:pt x="1374458" y="588645"/>
                    <a:pt x="1369695" y="557213"/>
                    <a:pt x="1360170" y="528638"/>
                  </a:cubicBezTo>
                  <a:cubicBezTo>
                    <a:pt x="1350645" y="500063"/>
                    <a:pt x="1335405" y="474345"/>
                    <a:pt x="1314450" y="451485"/>
                  </a:cubicBezTo>
                  <a:cubicBezTo>
                    <a:pt x="1293495" y="429578"/>
                    <a:pt x="1266825" y="411480"/>
                    <a:pt x="1234440" y="399098"/>
                  </a:cubicBezTo>
                  <a:cubicBezTo>
                    <a:pt x="1202055" y="385763"/>
                    <a:pt x="1163002" y="380048"/>
                    <a:pt x="1116330" y="379095"/>
                  </a:cubicBezTo>
                  <a:cubicBezTo>
                    <a:pt x="847725" y="379095"/>
                    <a:pt x="608647" y="379095"/>
                    <a:pt x="340042" y="379095"/>
                  </a:cubicBezTo>
                  <a:cubicBezTo>
                    <a:pt x="321945" y="379095"/>
                    <a:pt x="306705" y="375285"/>
                    <a:pt x="293370" y="368618"/>
                  </a:cubicBezTo>
                  <a:cubicBezTo>
                    <a:pt x="280988" y="361950"/>
                    <a:pt x="270510" y="352425"/>
                    <a:pt x="261938" y="340995"/>
                  </a:cubicBezTo>
                  <a:cubicBezTo>
                    <a:pt x="254317" y="329565"/>
                    <a:pt x="247650" y="317183"/>
                    <a:pt x="243840" y="302895"/>
                  </a:cubicBezTo>
                  <a:cubicBezTo>
                    <a:pt x="240030" y="288608"/>
                    <a:pt x="238125" y="274320"/>
                    <a:pt x="238125" y="259080"/>
                  </a:cubicBezTo>
                  <a:lnTo>
                    <a:pt x="238125" y="24193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  <p:sp>
          <p:nvSpPr>
            <p:cNvPr id="19" name="Grafik 3">
              <a:extLst>
                <a:ext uri="{FF2B5EF4-FFF2-40B4-BE49-F238E27FC236}">
                  <a16:creationId xmlns:a16="http://schemas.microsoft.com/office/drawing/2014/main" id="{7F50AF00-64BD-41AD-80DC-AFA5C6B8840E}"/>
                </a:ext>
              </a:extLst>
            </p:cNvPr>
            <p:cNvSpPr/>
            <p:nvPr/>
          </p:nvSpPr>
          <p:spPr>
            <a:xfrm>
              <a:off x="8043544" y="2990691"/>
              <a:ext cx="469582" cy="876300"/>
            </a:xfrm>
            <a:custGeom>
              <a:avLst/>
              <a:gdLst>
                <a:gd name="connsiteX0" fmla="*/ 231458 w 469582"/>
                <a:gd name="connsiteY0" fmla="*/ 241935 h 876300"/>
                <a:gd name="connsiteX1" fmla="*/ 225743 w 469582"/>
                <a:gd name="connsiteY1" fmla="*/ 198120 h 876300"/>
                <a:gd name="connsiteX2" fmla="*/ 207645 w 469582"/>
                <a:gd name="connsiteY2" fmla="*/ 160020 h 876300"/>
                <a:gd name="connsiteX3" fmla="*/ 176213 w 469582"/>
                <a:gd name="connsiteY3" fmla="*/ 132398 h 876300"/>
                <a:gd name="connsiteX4" fmla="*/ 129540 w 469582"/>
                <a:gd name="connsiteY4" fmla="*/ 121920 h 876300"/>
                <a:gd name="connsiteX5" fmla="*/ 0 w 469582"/>
                <a:gd name="connsiteY5" fmla="*/ 121920 h 876300"/>
                <a:gd name="connsiteX6" fmla="*/ 0 w 469582"/>
                <a:gd name="connsiteY6" fmla="*/ 0 h 876300"/>
                <a:gd name="connsiteX7" fmla="*/ 211455 w 469582"/>
                <a:gd name="connsiteY7" fmla="*/ 0 h 876300"/>
                <a:gd name="connsiteX8" fmla="*/ 329565 w 469582"/>
                <a:gd name="connsiteY8" fmla="*/ 20003 h 876300"/>
                <a:gd name="connsiteX9" fmla="*/ 409575 w 469582"/>
                <a:gd name="connsiteY9" fmla="*/ 72390 h 876300"/>
                <a:gd name="connsiteX10" fmla="*/ 455295 w 469582"/>
                <a:gd name="connsiteY10" fmla="*/ 149542 h 876300"/>
                <a:gd name="connsiteX11" fmla="*/ 469583 w 469582"/>
                <a:gd name="connsiteY11" fmla="*/ 241935 h 876300"/>
                <a:gd name="connsiteX12" fmla="*/ 469583 w 469582"/>
                <a:gd name="connsiteY12" fmla="*/ 876300 h 876300"/>
                <a:gd name="connsiteX13" fmla="*/ 231458 w 469582"/>
                <a:gd name="connsiteY13" fmla="*/ 876300 h 876300"/>
                <a:gd name="connsiteX14" fmla="*/ 231458 w 469582"/>
                <a:gd name="connsiteY14" fmla="*/ 241935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9582" h="876300">
                  <a:moveTo>
                    <a:pt x="231458" y="241935"/>
                  </a:moveTo>
                  <a:cubicBezTo>
                    <a:pt x="231458" y="226695"/>
                    <a:pt x="229553" y="212408"/>
                    <a:pt x="225743" y="198120"/>
                  </a:cubicBezTo>
                  <a:cubicBezTo>
                    <a:pt x="221933" y="183833"/>
                    <a:pt x="216218" y="171450"/>
                    <a:pt x="207645" y="160020"/>
                  </a:cubicBezTo>
                  <a:cubicBezTo>
                    <a:pt x="200025" y="148590"/>
                    <a:pt x="188595" y="140018"/>
                    <a:pt x="176213" y="132398"/>
                  </a:cubicBezTo>
                  <a:cubicBezTo>
                    <a:pt x="162878" y="125730"/>
                    <a:pt x="147638" y="121920"/>
                    <a:pt x="129540" y="121920"/>
                  </a:cubicBezTo>
                  <a:lnTo>
                    <a:pt x="0" y="121920"/>
                  </a:lnTo>
                  <a:lnTo>
                    <a:pt x="0" y="0"/>
                  </a:lnTo>
                  <a:lnTo>
                    <a:pt x="211455" y="0"/>
                  </a:lnTo>
                  <a:cubicBezTo>
                    <a:pt x="257175" y="0"/>
                    <a:pt x="296228" y="6668"/>
                    <a:pt x="329565" y="20003"/>
                  </a:cubicBezTo>
                  <a:cubicBezTo>
                    <a:pt x="361950" y="32385"/>
                    <a:pt x="388620" y="50483"/>
                    <a:pt x="409575" y="72390"/>
                  </a:cubicBezTo>
                  <a:cubicBezTo>
                    <a:pt x="430530" y="95250"/>
                    <a:pt x="444818" y="120968"/>
                    <a:pt x="455295" y="149542"/>
                  </a:cubicBezTo>
                  <a:cubicBezTo>
                    <a:pt x="464820" y="178117"/>
                    <a:pt x="469583" y="209550"/>
                    <a:pt x="469583" y="241935"/>
                  </a:cubicBezTo>
                  <a:lnTo>
                    <a:pt x="469583" y="876300"/>
                  </a:lnTo>
                  <a:lnTo>
                    <a:pt x="231458" y="876300"/>
                  </a:lnTo>
                  <a:lnTo>
                    <a:pt x="231458" y="24193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>
                <a:solidFill>
                  <a:srgbClr val="FFFFFF"/>
                </a:solidFill>
              </a:endParaRPr>
            </a:p>
          </p:txBody>
        </p:sp>
      </p:grp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7AB9F058-D4DE-480B-BD74-93881741C28D}"/>
              </a:ext>
            </a:extLst>
          </p:cNvPr>
          <p:cNvCxnSpPr/>
          <p:nvPr/>
        </p:nvCxnSpPr>
        <p:spPr>
          <a:xfrm>
            <a:off x="4146133" y="6534063"/>
            <a:ext cx="0" cy="215974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図 12">
            <a:extLst>
              <a:ext uri="{FF2B5EF4-FFF2-40B4-BE49-F238E27FC236}">
                <a16:creationId xmlns:a16="http://schemas.microsoft.com/office/drawing/2014/main" id="{B934DCEF-DB38-473A-B3B0-99904FE0FD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11" y="6518091"/>
            <a:ext cx="1047968" cy="262068"/>
          </a:xfrm>
          <a:prstGeom prst="rect">
            <a:avLst/>
          </a:prstGeom>
        </p:spPr>
      </p:pic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16D80CA4-C19F-4DA1-8141-E5822B3309E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4123" y="1088773"/>
            <a:ext cx="11335199" cy="5148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34AD084-95BE-47B5-9F86-2BBD4D4AB5C4}"/>
              </a:ext>
            </a:extLst>
          </p:cNvPr>
          <p:cNvSpPr txBox="1"/>
          <p:nvPr/>
        </p:nvSpPr>
        <p:spPr>
          <a:xfrm>
            <a:off x="4304405" y="6565124"/>
            <a:ext cx="1009367" cy="15385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indent="0" algn="l" defTabSz="914126" eaLnBrk="0" hangingPunct="0">
              <a:lnSpc>
                <a:spcPct val="100000"/>
              </a:lnSpc>
              <a:spcBef>
                <a:spcPts val="0"/>
              </a:spcBef>
              <a:buClr>
                <a:srgbClr val="003366"/>
              </a:buClr>
              <a:buSzPct val="100000"/>
              <a:buFontTx/>
              <a:buNone/>
            </a:pPr>
            <a:fld id="{1EBF441E-4961-49F4-A3C1-D6120246FD6D}" type="slidenum">
              <a:rPr kumimoji="0" lang="de-DE" sz="999" smtClean="0">
                <a:solidFill>
                  <a:srgbClr val="FFFFFF"/>
                </a:solidFill>
                <a:latin typeface="+mn-lt"/>
                <a:ea typeface="ＭＳ Ｐゴシック"/>
              </a:rPr>
              <a:pPr marL="0" indent="0" algn="l" defTabSz="914126" eaLnBrk="0" hangingPunct="0">
                <a:lnSpc>
                  <a:spcPct val="100000"/>
                </a:lnSpc>
                <a:spcBef>
                  <a:spcPts val="0"/>
                </a:spcBef>
                <a:buClr>
                  <a:srgbClr val="003366"/>
                </a:buClr>
                <a:buSzPct val="100000"/>
                <a:buFontTx/>
                <a:buNone/>
              </a:pPr>
              <a:t>‹#›</a:t>
            </a:fld>
            <a:endParaRPr kumimoji="0" lang="de-DE" sz="999" dirty="0">
              <a:solidFill>
                <a:srgbClr val="FFFFFF"/>
              </a:solidFill>
              <a:latin typeface="+mn-lt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69345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/>
          <p:cNvSpPr txBox="1"/>
          <p:nvPr/>
        </p:nvSpPr>
        <p:spPr bwMode="gray">
          <a:xfrm>
            <a:off x="720351" y="5938626"/>
            <a:ext cx="10757649" cy="6033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</a:pPr>
            <a:r>
              <a:rPr kumimoji="1" lang="en-US" altLang="ja-JP" sz="900" kern="1200" dirty="0">
                <a:solidFill>
                  <a:schemeClr val="tx1"/>
                </a:solidFill>
                <a:latin typeface="+mj-lt"/>
                <a:ea typeface="+mn-ea"/>
                <a:cs typeface="メイリオ"/>
              </a:rPr>
              <a:t>SONY is a registered trademark of Sony Corporation.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</a:pPr>
            <a:r>
              <a:rPr kumimoji="1" lang="en-US" altLang="ja-JP" sz="900" kern="1200" dirty="0">
                <a:solidFill>
                  <a:schemeClr val="tx1"/>
                </a:solidFill>
                <a:latin typeface="+mj-lt"/>
                <a:ea typeface="+mn-ea"/>
                <a:cs typeface="メイリオ"/>
              </a:rPr>
              <a:t>Names of Sony products and services are the registered trademarks and/or trademarks of Sony Corporation or its Group companies.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</a:pPr>
            <a:r>
              <a:rPr kumimoji="1" lang="en-US" altLang="ja-JP" sz="900" kern="1200" dirty="0">
                <a:solidFill>
                  <a:schemeClr val="tx1"/>
                </a:solidFill>
                <a:latin typeface="+mj-lt"/>
                <a:ea typeface="+mn-ea"/>
                <a:cs typeface="メイリオ"/>
              </a:rPr>
              <a:t>Other company names and product names are registered trademarks and/or trademarks of the respective companies.</a:t>
            </a: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479" y="2978902"/>
            <a:ext cx="3593391" cy="8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52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98500" y="1800000"/>
            <a:ext cx="10800000" cy="1440000"/>
          </a:xfrm>
          <a:prstGeom prst="rect">
            <a:avLst/>
          </a:prstGeom>
        </p:spPr>
        <p:txBody>
          <a:bodyPr wrap="none" lIns="36000" tIns="0" rIns="36000" bIns="0" anchor="b" anchorCtr="0">
            <a:noAutofit/>
          </a:bodyPr>
          <a:lstStyle>
            <a:lvl1pPr algn="l">
              <a:defRPr sz="3598" smtClean="0">
                <a:solidFill>
                  <a:schemeClr val="tx1"/>
                </a:solidFill>
              </a:defRPr>
            </a:lvl1pPr>
          </a:lstStyle>
          <a:p>
            <a:r>
              <a:rPr lang="en-US" altLang="ja-JP" dirty="0"/>
              <a:t>Click to edit title of presentation</a:t>
            </a:r>
            <a:endParaRPr lang="ja-JP" alt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98501" y="4306894"/>
            <a:ext cx="9309793" cy="1080000"/>
          </a:xfrm>
          <a:prstGeom prst="rect">
            <a:avLst/>
          </a:prstGeom>
        </p:spPr>
        <p:txBody>
          <a:bodyPr wrap="none" lIns="36000" tIns="0" rIns="36000" bIns="0"/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1999"/>
              </a:spcAft>
              <a:buClrTx/>
              <a:buSzTx/>
              <a:buFontTx/>
              <a:buNone/>
              <a:tabLst/>
              <a:defRPr sz="2399" smtClean="0">
                <a:solidFill>
                  <a:schemeClr val="tx1"/>
                </a:solidFill>
              </a:defRPr>
            </a:lvl1pPr>
          </a:lstStyle>
          <a:p>
            <a:r>
              <a:rPr lang="en-US" altLang="ja-JP" dirty="0"/>
              <a:t>Click to edit Date </a:t>
            </a:r>
          </a:p>
          <a:p>
            <a:r>
              <a:rPr lang="en-US" altLang="ja-JP" dirty="0"/>
              <a:t>Click to edit </a:t>
            </a:r>
            <a:r>
              <a:rPr lang="de-DE" altLang="ja-JP" dirty="0" err="1"/>
              <a:t>Author</a:t>
            </a:r>
            <a:endParaRPr lang="ja-JP" altLang="en-US" dirty="0"/>
          </a:p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7252457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MiddlePage_1_white_EuT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"/>
          <p:cNvSpPr>
            <a:spLocks noGrp="1"/>
          </p:cNvSpPr>
          <p:nvPr>
            <p:ph type="title"/>
          </p:nvPr>
        </p:nvSpPr>
        <p:spPr>
          <a:xfrm>
            <a:off x="576300" y="44624"/>
            <a:ext cx="11045750" cy="792000"/>
          </a:xfrm>
          <a:prstGeom prst="rect">
            <a:avLst/>
          </a:prstGeom>
        </p:spPr>
        <p:txBody>
          <a:bodyPr wrap="none" lIns="0" tIns="0" rIns="0" bIns="0" anchor="b"/>
          <a:lstStyle>
            <a:lvl1pPr>
              <a:defRPr baseline="0">
                <a:solidFill>
                  <a:schemeClr val="tx1"/>
                </a:solidFill>
                <a:latin typeface="Tahoma" pitchFamily="34" charset="0"/>
                <a:ea typeface="ＭＳ Ｐゴシック" pitchFamily="50" charset="-128"/>
              </a:defRPr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 dirty="0"/>
          </a:p>
        </p:txBody>
      </p:sp>
      <p:sp>
        <p:nvSpPr>
          <p:cNvPr id="14" name="コンテンツ プレースホルダー 4"/>
          <p:cNvSpPr>
            <a:spLocks noGrp="1"/>
          </p:cNvSpPr>
          <p:nvPr>
            <p:ph sz="quarter" idx="10"/>
          </p:nvPr>
        </p:nvSpPr>
        <p:spPr>
          <a:xfrm>
            <a:off x="576300" y="1052514"/>
            <a:ext cx="11045750" cy="5113337"/>
          </a:xfrm>
          <a:prstGeom prst="rect">
            <a:avLst/>
          </a:prstGeom>
        </p:spPr>
        <p:txBody>
          <a:bodyPr/>
          <a:lstStyle>
            <a:lvl1pPr marL="304648" indent="-342729">
              <a:spcBef>
                <a:spcPts val="0"/>
              </a:spcBef>
              <a:buClr>
                <a:srgbClr val="003366"/>
              </a:buClr>
              <a:buSzPct val="80000"/>
              <a:buFont typeface="Wingdings" panose="05000000000000000000" pitchFamily="2" charset="2"/>
              <a:buChar char="Ø"/>
              <a:defRPr sz="2399" baseline="0">
                <a:solidFill>
                  <a:srgbClr val="003366"/>
                </a:solidFill>
              </a:defRPr>
            </a:lvl1pPr>
            <a:lvl2pPr marL="717191" indent="-269740">
              <a:spcBef>
                <a:spcPts val="0"/>
              </a:spcBef>
              <a:buFont typeface="Arial" pitchFamily="34" charset="0"/>
              <a:buChar char="•"/>
              <a:defRPr sz="1999">
                <a:solidFill>
                  <a:schemeClr val="tx1"/>
                </a:solidFill>
              </a:defRPr>
            </a:lvl2pPr>
            <a:lvl3pPr marL="990105" indent="-266567">
              <a:spcBef>
                <a:spcPts val="0"/>
              </a:spcBef>
              <a:buFont typeface="メイリオ" panose="020B0604030504040204" pitchFamily="50" charset="-128"/>
              <a:buChar char="‣"/>
              <a:defRPr sz="1799">
                <a:solidFill>
                  <a:schemeClr val="tx1"/>
                </a:solidFill>
              </a:defRPr>
            </a:lvl3pPr>
            <a:lvl4pPr marL="1256671" indent="-174538" defTabSz="1075787">
              <a:spcBef>
                <a:spcPts val="0"/>
              </a:spcBef>
              <a:buFont typeface="Arial" pitchFamily="34" charset="0"/>
              <a:buChar char="•"/>
              <a:defRPr sz="1799">
                <a:solidFill>
                  <a:schemeClr val="tx1"/>
                </a:solidFill>
              </a:defRPr>
            </a:lvl4pPr>
            <a:lvl5pPr marL="1431209" indent="-171364">
              <a:spcBef>
                <a:spcPts val="0"/>
              </a:spcBef>
              <a:buFont typeface="Arial" pitchFamily="34" charset="0"/>
              <a:buChar char="•"/>
              <a:defRPr sz="1799"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18955869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E9925D4-F386-4C7D-8D18-5C4F41D0B653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95556454"/>
              </p:ext>
            </p:ext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44" imgH="341" progId="TCLayout.ActiveDocument.1">
                  <p:embed/>
                </p:oleObj>
              </mc:Choice>
              <mc:Fallback>
                <p:oleObj name="think-cell Folie" r:id="rId13" imgW="344" imgH="34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E9925D4-F386-4C7D-8D18-5C4F41D0B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platzhalter 2">
            <a:extLst>
              <a:ext uri="{FF2B5EF4-FFF2-40B4-BE49-F238E27FC236}">
                <a16:creationId xmlns:a16="http://schemas.microsoft.com/office/drawing/2014/main" id="{564353D2-39CE-4084-9DB4-2F151F71C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122" y="406763"/>
            <a:ext cx="11335200" cy="4307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139147-F00B-4806-B0B6-F7CF774F0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122" y="1088773"/>
            <a:ext cx="11335200" cy="5148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cxnSp>
        <p:nvCxnSpPr>
          <p:cNvPr id="23" name="直線コネクタ 20">
            <a:extLst>
              <a:ext uri="{FF2B5EF4-FFF2-40B4-BE49-F238E27FC236}">
                <a16:creationId xmlns:a16="http://schemas.microsoft.com/office/drawing/2014/main" id="{E9872B70-314C-4AF1-9A59-578DEB2C1A06}"/>
              </a:ext>
            </a:extLst>
          </p:cNvPr>
          <p:cNvCxnSpPr/>
          <p:nvPr/>
        </p:nvCxnSpPr>
        <p:spPr>
          <a:xfrm>
            <a:off x="1546821" y="6534063"/>
            <a:ext cx="0" cy="215974"/>
          </a:xfrm>
          <a:prstGeom prst="line">
            <a:avLst/>
          </a:prstGeom>
          <a:ln w="3175" cmpd="sng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フッター プレースホルダー 3">
            <a:extLst>
              <a:ext uri="{FF2B5EF4-FFF2-40B4-BE49-F238E27FC236}">
                <a16:creationId xmlns:a16="http://schemas.microsoft.com/office/drawing/2014/main" id="{DF40147E-B8CF-4595-BD24-1BC230EAA186}"/>
              </a:ext>
            </a:extLst>
          </p:cNvPr>
          <p:cNvSpPr txBox="1">
            <a:spLocks/>
          </p:cNvSpPr>
          <p:nvPr/>
        </p:nvSpPr>
        <p:spPr>
          <a:xfrm>
            <a:off x="2888559" y="6565124"/>
            <a:ext cx="1134336" cy="15385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1089325" rtl="0" eaLnBrk="1" latinLnBrk="0" hangingPunct="1">
              <a:defRPr kumimoji="1"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4466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9325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98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864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3312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974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2637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7299" algn="l" defTabSz="1089325" rtl="0" eaLnBrk="1" latinLnBrk="0" hangingPunct="1"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999" dirty="0">
                <a:solidFill>
                  <a:srgbClr val="003366"/>
                </a:solidFill>
                <a:latin typeface="+mj-lt"/>
                <a:ea typeface="メイリオ" pitchFamily="50" charset="-128"/>
                <a:cs typeface="メイリオ" pitchFamily="50" charset="-128"/>
              </a:rPr>
              <a:t>R&amp;D Center Europe</a:t>
            </a:r>
          </a:p>
        </p:txBody>
      </p:sp>
      <p:cxnSp>
        <p:nvCxnSpPr>
          <p:cNvPr id="25" name="直線コネクタ 20">
            <a:extLst>
              <a:ext uri="{FF2B5EF4-FFF2-40B4-BE49-F238E27FC236}">
                <a16:creationId xmlns:a16="http://schemas.microsoft.com/office/drawing/2014/main" id="{C5E7924D-E6C4-46FD-935F-68D706EA4F91}"/>
              </a:ext>
            </a:extLst>
          </p:cNvPr>
          <p:cNvCxnSpPr/>
          <p:nvPr/>
        </p:nvCxnSpPr>
        <p:spPr>
          <a:xfrm>
            <a:off x="2737166" y="6534063"/>
            <a:ext cx="0" cy="215974"/>
          </a:xfrm>
          <a:prstGeom prst="line">
            <a:avLst/>
          </a:prstGeom>
          <a:ln w="3175" cmpd="sng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15BD219-2FA1-4D82-AC3E-D3E84D3420D3}"/>
              </a:ext>
            </a:extLst>
          </p:cNvPr>
          <p:cNvGrpSpPr/>
          <p:nvPr/>
        </p:nvGrpSpPr>
        <p:grpSpPr>
          <a:xfrm>
            <a:off x="1724667" y="6539652"/>
            <a:ext cx="824326" cy="204798"/>
            <a:chOff x="3688714" y="2829719"/>
            <a:chExt cx="4824412" cy="1198244"/>
          </a:xfrm>
          <a:solidFill>
            <a:srgbClr val="003366"/>
          </a:solidFill>
        </p:grpSpPr>
        <p:sp>
          <p:nvSpPr>
            <p:cNvPr id="27" name="Grafik 3">
              <a:extLst>
                <a:ext uri="{FF2B5EF4-FFF2-40B4-BE49-F238E27FC236}">
                  <a16:creationId xmlns:a16="http://schemas.microsoft.com/office/drawing/2014/main" id="{EAEEA518-5D8C-414B-AFD9-3F80AB1A2907}"/>
                </a:ext>
              </a:extLst>
            </p:cNvPr>
            <p:cNvSpPr/>
            <p:nvPr/>
          </p:nvSpPr>
          <p:spPr>
            <a:xfrm>
              <a:off x="4019231" y="2829719"/>
              <a:ext cx="567690" cy="643889"/>
            </a:xfrm>
            <a:custGeom>
              <a:avLst/>
              <a:gdLst>
                <a:gd name="connsiteX0" fmla="*/ 567690 w 567690"/>
                <a:gd name="connsiteY0" fmla="*/ 180023 h 643889"/>
                <a:gd name="connsiteX1" fmla="*/ 567690 w 567690"/>
                <a:gd name="connsiteY1" fmla="*/ 463868 h 643889"/>
                <a:gd name="connsiteX2" fmla="*/ 562928 w 567690"/>
                <a:gd name="connsiteY2" fmla="*/ 482918 h 643889"/>
                <a:gd name="connsiteX3" fmla="*/ 548640 w 567690"/>
                <a:gd name="connsiteY3" fmla="*/ 497205 h 643889"/>
                <a:gd name="connsiteX4" fmla="*/ 302895 w 567690"/>
                <a:gd name="connsiteY4" fmla="*/ 639128 h 643889"/>
                <a:gd name="connsiteX5" fmla="*/ 283845 w 567690"/>
                <a:gd name="connsiteY5" fmla="*/ 643890 h 643889"/>
                <a:gd name="connsiteX6" fmla="*/ 264795 w 567690"/>
                <a:gd name="connsiteY6" fmla="*/ 639128 h 643889"/>
                <a:gd name="connsiteX7" fmla="*/ 18098 w 567690"/>
                <a:gd name="connsiteY7" fmla="*/ 497205 h 643889"/>
                <a:gd name="connsiteX8" fmla="*/ 4763 w 567690"/>
                <a:gd name="connsiteY8" fmla="*/ 483870 h 643889"/>
                <a:gd name="connsiteX9" fmla="*/ 0 w 567690"/>
                <a:gd name="connsiteY9" fmla="*/ 464820 h 643889"/>
                <a:gd name="connsiteX10" fmla="*/ 0 w 567690"/>
                <a:gd name="connsiteY10" fmla="*/ 180023 h 643889"/>
                <a:gd name="connsiteX11" fmla="*/ 4763 w 567690"/>
                <a:gd name="connsiteY11" fmla="*/ 160973 h 643889"/>
                <a:gd name="connsiteX12" fmla="*/ 19050 w 567690"/>
                <a:gd name="connsiteY12" fmla="*/ 146685 h 643889"/>
                <a:gd name="connsiteX13" fmla="*/ 263843 w 567690"/>
                <a:gd name="connsiteY13" fmla="*/ 4763 h 643889"/>
                <a:gd name="connsiteX14" fmla="*/ 282893 w 567690"/>
                <a:gd name="connsiteY14" fmla="*/ 0 h 643889"/>
                <a:gd name="connsiteX15" fmla="*/ 301943 w 567690"/>
                <a:gd name="connsiteY15" fmla="*/ 4763 h 643889"/>
                <a:gd name="connsiteX16" fmla="*/ 547688 w 567690"/>
                <a:gd name="connsiteY16" fmla="*/ 146685 h 643889"/>
                <a:gd name="connsiteX17" fmla="*/ 561023 w 567690"/>
                <a:gd name="connsiteY17" fmla="*/ 160020 h 643889"/>
                <a:gd name="connsiteX18" fmla="*/ 567690 w 567690"/>
                <a:gd name="connsiteY18" fmla="*/ 180023 h 6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3889">
                  <a:moveTo>
                    <a:pt x="567690" y="180023"/>
                  </a:moveTo>
                  <a:lnTo>
                    <a:pt x="567690" y="463868"/>
                  </a:lnTo>
                  <a:cubicBezTo>
                    <a:pt x="567690" y="470535"/>
                    <a:pt x="565785" y="477203"/>
                    <a:pt x="562928" y="482918"/>
                  </a:cubicBezTo>
                  <a:cubicBezTo>
                    <a:pt x="559118" y="488633"/>
                    <a:pt x="554355" y="493395"/>
                    <a:pt x="548640" y="497205"/>
                  </a:cubicBezTo>
                  <a:lnTo>
                    <a:pt x="302895" y="639128"/>
                  </a:lnTo>
                  <a:cubicBezTo>
                    <a:pt x="297180" y="641985"/>
                    <a:pt x="290513" y="643890"/>
                    <a:pt x="283845" y="643890"/>
                  </a:cubicBezTo>
                  <a:cubicBezTo>
                    <a:pt x="277178" y="643890"/>
                    <a:pt x="270510" y="641985"/>
                    <a:pt x="264795" y="639128"/>
                  </a:cubicBezTo>
                  <a:lnTo>
                    <a:pt x="18098" y="497205"/>
                  </a:lnTo>
                  <a:cubicBezTo>
                    <a:pt x="12382" y="494348"/>
                    <a:pt x="7620" y="489585"/>
                    <a:pt x="4763" y="483870"/>
                  </a:cubicBezTo>
                  <a:cubicBezTo>
                    <a:pt x="953" y="478155"/>
                    <a:pt x="0" y="471488"/>
                    <a:pt x="0" y="464820"/>
                  </a:cubicBezTo>
                  <a:lnTo>
                    <a:pt x="0" y="180023"/>
                  </a:lnTo>
                  <a:cubicBezTo>
                    <a:pt x="0" y="173355"/>
                    <a:pt x="1905" y="166688"/>
                    <a:pt x="4763" y="160973"/>
                  </a:cubicBezTo>
                  <a:cubicBezTo>
                    <a:pt x="8573" y="155258"/>
                    <a:pt x="13335" y="150495"/>
                    <a:pt x="19050" y="146685"/>
                  </a:cubicBezTo>
                  <a:lnTo>
                    <a:pt x="263843" y="4763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4763"/>
                  </a:cubicBezTo>
                  <a:lnTo>
                    <a:pt x="547688" y="146685"/>
                  </a:lnTo>
                  <a:cubicBezTo>
                    <a:pt x="553403" y="149543"/>
                    <a:pt x="558165" y="154305"/>
                    <a:pt x="561023" y="160020"/>
                  </a:cubicBezTo>
                  <a:cubicBezTo>
                    <a:pt x="565785" y="167640"/>
                    <a:pt x="567690" y="173355"/>
                    <a:pt x="567690" y="1800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28" name="Grafik 3">
              <a:extLst>
                <a:ext uri="{FF2B5EF4-FFF2-40B4-BE49-F238E27FC236}">
                  <a16:creationId xmlns:a16="http://schemas.microsoft.com/office/drawing/2014/main" id="{2683678D-7F04-481B-84FA-51EA428B58BA}"/>
                </a:ext>
              </a:extLst>
            </p:cNvPr>
            <p:cNvSpPr/>
            <p:nvPr/>
          </p:nvSpPr>
          <p:spPr>
            <a:xfrm>
              <a:off x="3688714" y="3383121"/>
              <a:ext cx="567690" cy="644842"/>
            </a:xfrm>
            <a:custGeom>
              <a:avLst/>
              <a:gdLst>
                <a:gd name="connsiteX0" fmla="*/ 567690 w 567690"/>
                <a:gd name="connsiteY0" fmla="*/ 180975 h 644842"/>
                <a:gd name="connsiteX1" fmla="*/ 567690 w 567690"/>
                <a:gd name="connsiteY1" fmla="*/ 464820 h 644842"/>
                <a:gd name="connsiteX2" fmla="*/ 562928 w 567690"/>
                <a:gd name="connsiteY2" fmla="*/ 483870 h 644842"/>
                <a:gd name="connsiteX3" fmla="*/ 548640 w 567690"/>
                <a:gd name="connsiteY3" fmla="*/ 498158 h 644842"/>
                <a:gd name="connsiteX4" fmla="*/ 302895 w 567690"/>
                <a:gd name="connsiteY4" fmla="*/ 640080 h 644842"/>
                <a:gd name="connsiteX5" fmla="*/ 283845 w 567690"/>
                <a:gd name="connsiteY5" fmla="*/ 644843 h 644842"/>
                <a:gd name="connsiteX6" fmla="*/ 264795 w 567690"/>
                <a:gd name="connsiteY6" fmla="*/ 640080 h 644842"/>
                <a:gd name="connsiteX7" fmla="*/ 18098 w 567690"/>
                <a:gd name="connsiteY7" fmla="*/ 498158 h 644842"/>
                <a:gd name="connsiteX8" fmla="*/ 4763 w 567690"/>
                <a:gd name="connsiteY8" fmla="*/ 484823 h 644842"/>
                <a:gd name="connsiteX9" fmla="*/ 0 w 567690"/>
                <a:gd name="connsiteY9" fmla="*/ 465773 h 644842"/>
                <a:gd name="connsiteX10" fmla="*/ 0 w 567690"/>
                <a:gd name="connsiteY10" fmla="*/ 180975 h 644842"/>
                <a:gd name="connsiteX11" fmla="*/ 4763 w 567690"/>
                <a:gd name="connsiteY11" fmla="*/ 161925 h 644842"/>
                <a:gd name="connsiteX12" fmla="*/ 18098 w 567690"/>
                <a:gd name="connsiteY12" fmla="*/ 147638 h 644842"/>
                <a:gd name="connsiteX13" fmla="*/ 263843 w 567690"/>
                <a:gd name="connsiteY13" fmla="*/ 5715 h 644842"/>
                <a:gd name="connsiteX14" fmla="*/ 282893 w 567690"/>
                <a:gd name="connsiteY14" fmla="*/ 0 h 644842"/>
                <a:gd name="connsiteX15" fmla="*/ 301943 w 567690"/>
                <a:gd name="connsiteY15" fmla="*/ 5715 h 644842"/>
                <a:gd name="connsiteX16" fmla="*/ 548640 w 567690"/>
                <a:gd name="connsiteY16" fmla="*/ 147638 h 644842"/>
                <a:gd name="connsiteX17" fmla="*/ 561975 w 567690"/>
                <a:gd name="connsiteY17" fmla="*/ 160973 h 644842"/>
                <a:gd name="connsiteX18" fmla="*/ 567690 w 567690"/>
                <a:gd name="connsiteY18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690" h="644842">
                  <a:moveTo>
                    <a:pt x="567690" y="180975"/>
                  </a:moveTo>
                  <a:lnTo>
                    <a:pt x="567690" y="464820"/>
                  </a:lnTo>
                  <a:cubicBezTo>
                    <a:pt x="567690" y="471488"/>
                    <a:pt x="565785" y="478155"/>
                    <a:pt x="562928" y="483870"/>
                  </a:cubicBezTo>
                  <a:cubicBezTo>
                    <a:pt x="559118" y="489585"/>
                    <a:pt x="554355" y="494348"/>
                    <a:pt x="548640" y="498158"/>
                  </a:cubicBezTo>
                  <a:lnTo>
                    <a:pt x="302895" y="640080"/>
                  </a:lnTo>
                  <a:cubicBezTo>
                    <a:pt x="297180" y="643890"/>
                    <a:pt x="290513" y="644843"/>
                    <a:pt x="283845" y="644843"/>
                  </a:cubicBezTo>
                  <a:cubicBezTo>
                    <a:pt x="277178" y="644843"/>
                    <a:pt x="270510" y="642938"/>
                    <a:pt x="264795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4823"/>
                  </a:cubicBezTo>
                  <a:cubicBezTo>
                    <a:pt x="953" y="479108"/>
                    <a:pt x="0" y="472440"/>
                    <a:pt x="0" y="465773"/>
                  </a:cubicBez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7620" y="156210"/>
                    <a:pt x="12383" y="151448"/>
                    <a:pt x="18098" y="147638"/>
                  </a:cubicBezTo>
                  <a:lnTo>
                    <a:pt x="263843" y="5715"/>
                  </a:lnTo>
                  <a:cubicBezTo>
                    <a:pt x="269558" y="1905"/>
                    <a:pt x="276225" y="0"/>
                    <a:pt x="282893" y="0"/>
                  </a:cubicBezTo>
                  <a:cubicBezTo>
                    <a:pt x="289560" y="0"/>
                    <a:pt x="296228" y="1905"/>
                    <a:pt x="301943" y="5715"/>
                  </a:cubicBezTo>
                  <a:lnTo>
                    <a:pt x="548640" y="147638"/>
                  </a:lnTo>
                  <a:cubicBezTo>
                    <a:pt x="554355" y="150495"/>
                    <a:pt x="559118" y="155258"/>
                    <a:pt x="561975" y="160973"/>
                  </a:cubicBezTo>
                  <a:cubicBezTo>
                    <a:pt x="565785" y="167640"/>
                    <a:pt x="567690" y="174308"/>
                    <a:pt x="567690" y="180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29" name="Grafik 3">
              <a:extLst>
                <a:ext uri="{FF2B5EF4-FFF2-40B4-BE49-F238E27FC236}">
                  <a16:creationId xmlns:a16="http://schemas.microsoft.com/office/drawing/2014/main" id="{30BD7DF4-7A9E-414F-8CCE-9DF33809CAFF}"/>
                </a:ext>
              </a:extLst>
            </p:cNvPr>
            <p:cNvSpPr/>
            <p:nvPr/>
          </p:nvSpPr>
          <p:spPr>
            <a:xfrm>
              <a:off x="4340224" y="3383121"/>
              <a:ext cx="566737" cy="644842"/>
            </a:xfrm>
            <a:custGeom>
              <a:avLst/>
              <a:gdLst>
                <a:gd name="connsiteX0" fmla="*/ 566738 w 566737"/>
                <a:gd name="connsiteY0" fmla="*/ 180975 h 644842"/>
                <a:gd name="connsiteX1" fmla="*/ 566738 w 566737"/>
                <a:gd name="connsiteY1" fmla="*/ 464820 h 644842"/>
                <a:gd name="connsiteX2" fmla="*/ 561975 w 566737"/>
                <a:gd name="connsiteY2" fmla="*/ 483870 h 644842"/>
                <a:gd name="connsiteX3" fmla="*/ 547688 w 566737"/>
                <a:gd name="connsiteY3" fmla="*/ 498158 h 644842"/>
                <a:gd name="connsiteX4" fmla="*/ 301942 w 566737"/>
                <a:gd name="connsiteY4" fmla="*/ 640080 h 644842"/>
                <a:gd name="connsiteX5" fmla="*/ 282892 w 566737"/>
                <a:gd name="connsiteY5" fmla="*/ 644843 h 644842"/>
                <a:gd name="connsiteX6" fmla="*/ 263842 w 566737"/>
                <a:gd name="connsiteY6" fmla="*/ 640080 h 644842"/>
                <a:gd name="connsiteX7" fmla="*/ 18098 w 566737"/>
                <a:gd name="connsiteY7" fmla="*/ 498158 h 644842"/>
                <a:gd name="connsiteX8" fmla="*/ 4763 w 566737"/>
                <a:gd name="connsiteY8" fmla="*/ 483870 h 644842"/>
                <a:gd name="connsiteX9" fmla="*/ 0 w 566737"/>
                <a:gd name="connsiteY9" fmla="*/ 464820 h 644842"/>
                <a:gd name="connsiteX10" fmla="*/ 0 w 566737"/>
                <a:gd name="connsiteY10" fmla="*/ 322898 h 644842"/>
                <a:gd name="connsiteX11" fmla="*/ 0 w 566737"/>
                <a:gd name="connsiteY11" fmla="*/ 180975 h 644842"/>
                <a:gd name="connsiteX12" fmla="*/ 4763 w 566737"/>
                <a:gd name="connsiteY12" fmla="*/ 161925 h 644842"/>
                <a:gd name="connsiteX13" fmla="*/ 19050 w 566737"/>
                <a:gd name="connsiteY13" fmla="*/ 147638 h 644842"/>
                <a:gd name="connsiteX14" fmla="*/ 264795 w 566737"/>
                <a:gd name="connsiteY14" fmla="*/ 5715 h 644842"/>
                <a:gd name="connsiteX15" fmla="*/ 283845 w 566737"/>
                <a:gd name="connsiteY15" fmla="*/ 0 h 644842"/>
                <a:gd name="connsiteX16" fmla="*/ 302895 w 566737"/>
                <a:gd name="connsiteY16" fmla="*/ 5715 h 644842"/>
                <a:gd name="connsiteX17" fmla="*/ 547688 w 566737"/>
                <a:gd name="connsiteY17" fmla="*/ 148590 h 644842"/>
                <a:gd name="connsiteX18" fmla="*/ 561023 w 566737"/>
                <a:gd name="connsiteY18" fmla="*/ 161925 h 644842"/>
                <a:gd name="connsiteX19" fmla="*/ 566738 w 566737"/>
                <a:gd name="connsiteY19" fmla="*/ 180975 h 64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66737" h="644842">
                  <a:moveTo>
                    <a:pt x="566738" y="180975"/>
                  </a:moveTo>
                  <a:lnTo>
                    <a:pt x="566738" y="464820"/>
                  </a:lnTo>
                  <a:cubicBezTo>
                    <a:pt x="566738" y="471488"/>
                    <a:pt x="564833" y="478155"/>
                    <a:pt x="561975" y="483870"/>
                  </a:cubicBezTo>
                  <a:cubicBezTo>
                    <a:pt x="558165" y="489585"/>
                    <a:pt x="553403" y="494348"/>
                    <a:pt x="547688" y="498158"/>
                  </a:cubicBezTo>
                  <a:lnTo>
                    <a:pt x="301942" y="640080"/>
                  </a:lnTo>
                  <a:cubicBezTo>
                    <a:pt x="296228" y="643890"/>
                    <a:pt x="289560" y="644843"/>
                    <a:pt x="282892" y="644843"/>
                  </a:cubicBezTo>
                  <a:cubicBezTo>
                    <a:pt x="276225" y="644843"/>
                    <a:pt x="269558" y="642938"/>
                    <a:pt x="263842" y="640080"/>
                  </a:cubicBezTo>
                  <a:lnTo>
                    <a:pt x="18098" y="498158"/>
                  </a:lnTo>
                  <a:cubicBezTo>
                    <a:pt x="12383" y="495300"/>
                    <a:pt x="7620" y="490538"/>
                    <a:pt x="4763" y="483870"/>
                  </a:cubicBezTo>
                  <a:cubicBezTo>
                    <a:pt x="952" y="478155"/>
                    <a:pt x="0" y="471488"/>
                    <a:pt x="0" y="464820"/>
                  </a:cubicBezTo>
                  <a:lnTo>
                    <a:pt x="0" y="322898"/>
                  </a:lnTo>
                  <a:lnTo>
                    <a:pt x="0" y="180975"/>
                  </a:lnTo>
                  <a:cubicBezTo>
                    <a:pt x="0" y="174308"/>
                    <a:pt x="1905" y="167640"/>
                    <a:pt x="4763" y="161925"/>
                  </a:cubicBezTo>
                  <a:cubicBezTo>
                    <a:pt x="8573" y="156210"/>
                    <a:pt x="13335" y="151448"/>
                    <a:pt x="19050" y="147638"/>
                  </a:cubicBezTo>
                  <a:lnTo>
                    <a:pt x="264795" y="5715"/>
                  </a:lnTo>
                  <a:cubicBezTo>
                    <a:pt x="270510" y="2858"/>
                    <a:pt x="277178" y="0"/>
                    <a:pt x="283845" y="0"/>
                  </a:cubicBezTo>
                  <a:cubicBezTo>
                    <a:pt x="290513" y="0"/>
                    <a:pt x="297180" y="1905"/>
                    <a:pt x="302895" y="5715"/>
                  </a:cubicBezTo>
                  <a:lnTo>
                    <a:pt x="547688" y="148590"/>
                  </a:lnTo>
                  <a:cubicBezTo>
                    <a:pt x="553403" y="151448"/>
                    <a:pt x="558165" y="156210"/>
                    <a:pt x="561023" y="161925"/>
                  </a:cubicBezTo>
                  <a:cubicBezTo>
                    <a:pt x="564833" y="167640"/>
                    <a:pt x="566738" y="174308"/>
                    <a:pt x="566738" y="180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30" name="Grafik 3">
              <a:extLst>
                <a:ext uri="{FF2B5EF4-FFF2-40B4-BE49-F238E27FC236}">
                  <a16:creationId xmlns:a16="http://schemas.microsoft.com/office/drawing/2014/main" id="{655CF6B1-9F15-4753-8278-B227CB292162}"/>
                </a:ext>
              </a:extLst>
            </p:cNvPr>
            <p:cNvSpPr/>
            <p:nvPr/>
          </p:nvSpPr>
          <p:spPr>
            <a:xfrm>
              <a:off x="6739571" y="2990691"/>
              <a:ext cx="1374457" cy="878204"/>
            </a:xfrm>
            <a:custGeom>
              <a:avLst/>
              <a:gdLst>
                <a:gd name="connsiteX0" fmla="*/ 239078 w 1374457"/>
                <a:gd name="connsiteY0" fmla="*/ 635318 h 878204"/>
                <a:gd name="connsiteX1" fmla="*/ 244793 w 1374457"/>
                <a:gd name="connsiteY1" fmla="*/ 679133 h 878204"/>
                <a:gd name="connsiteX2" fmla="*/ 262890 w 1374457"/>
                <a:gd name="connsiteY2" fmla="*/ 717233 h 878204"/>
                <a:gd name="connsiteX3" fmla="*/ 294322 w 1374457"/>
                <a:gd name="connsiteY3" fmla="*/ 744855 h 878204"/>
                <a:gd name="connsiteX4" fmla="*/ 340995 w 1374457"/>
                <a:gd name="connsiteY4" fmla="*/ 755333 h 878204"/>
                <a:gd name="connsiteX5" fmla="*/ 1374458 w 1374457"/>
                <a:gd name="connsiteY5" fmla="*/ 755333 h 878204"/>
                <a:gd name="connsiteX6" fmla="*/ 1374458 w 1374457"/>
                <a:gd name="connsiteY6" fmla="*/ 878205 h 878204"/>
                <a:gd name="connsiteX7" fmla="*/ 258128 w 1374457"/>
                <a:gd name="connsiteY7" fmla="*/ 878205 h 878204"/>
                <a:gd name="connsiteX8" fmla="*/ 140018 w 1374457"/>
                <a:gd name="connsiteY8" fmla="*/ 858203 h 878204"/>
                <a:gd name="connsiteX9" fmla="*/ 60008 w 1374457"/>
                <a:gd name="connsiteY9" fmla="*/ 805815 h 878204"/>
                <a:gd name="connsiteX10" fmla="*/ 14288 w 1374457"/>
                <a:gd name="connsiteY10" fmla="*/ 728663 h 878204"/>
                <a:gd name="connsiteX11" fmla="*/ 0 w 1374457"/>
                <a:gd name="connsiteY11" fmla="*/ 636270 h 878204"/>
                <a:gd name="connsiteX12" fmla="*/ 0 w 1374457"/>
                <a:gd name="connsiteY12" fmla="*/ 0 h 878204"/>
                <a:gd name="connsiteX13" fmla="*/ 238125 w 1374457"/>
                <a:gd name="connsiteY13" fmla="*/ 0 h 878204"/>
                <a:gd name="connsiteX14" fmla="*/ 238125 w 1374457"/>
                <a:gd name="connsiteY14" fmla="*/ 635318 h 878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4457" h="878204">
                  <a:moveTo>
                    <a:pt x="239078" y="635318"/>
                  </a:moveTo>
                  <a:cubicBezTo>
                    <a:pt x="239078" y="649605"/>
                    <a:pt x="240983" y="664845"/>
                    <a:pt x="244793" y="679133"/>
                  </a:cubicBezTo>
                  <a:cubicBezTo>
                    <a:pt x="248603" y="693420"/>
                    <a:pt x="254318" y="705803"/>
                    <a:pt x="262890" y="717233"/>
                  </a:cubicBezTo>
                  <a:cubicBezTo>
                    <a:pt x="270510" y="728663"/>
                    <a:pt x="280988" y="737235"/>
                    <a:pt x="294322" y="744855"/>
                  </a:cubicBezTo>
                  <a:cubicBezTo>
                    <a:pt x="307658" y="751523"/>
                    <a:pt x="322897" y="755333"/>
                    <a:pt x="340995" y="755333"/>
                  </a:cubicBezTo>
                  <a:lnTo>
                    <a:pt x="1374458" y="755333"/>
                  </a:lnTo>
                  <a:lnTo>
                    <a:pt x="1374458" y="878205"/>
                  </a:lnTo>
                  <a:lnTo>
                    <a:pt x="258128" y="878205"/>
                  </a:lnTo>
                  <a:cubicBezTo>
                    <a:pt x="212408" y="878205"/>
                    <a:pt x="173355" y="871538"/>
                    <a:pt x="140018" y="858203"/>
                  </a:cubicBezTo>
                  <a:cubicBezTo>
                    <a:pt x="107633" y="845820"/>
                    <a:pt x="80963" y="827723"/>
                    <a:pt x="60008" y="805815"/>
                  </a:cubicBezTo>
                  <a:cubicBezTo>
                    <a:pt x="39053" y="782955"/>
                    <a:pt x="24765" y="757238"/>
                    <a:pt x="14288" y="728663"/>
                  </a:cubicBezTo>
                  <a:cubicBezTo>
                    <a:pt x="4763" y="700088"/>
                    <a:pt x="0" y="668655"/>
                    <a:pt x="0" y="636270"/>
                  </a:cubicBezTo>
                  <a:lnTo>
                    <a:pt x="0" y="0"/>
                  </a:lnTo>
                  <a:lnTo>
                    <a:pt x="238125" y="0"/>
                  </a:lnTo>
                  <a:lnTo>
                    <a:pt x="238125" y="6353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31" name="Grafik 3">
              <a:extLst>
                <a:ext uri="{FF2B5EF4-FFF2-40B4-BE49-F238E27FC236}">
                  <a16:creationId xmlns:a16="http://schemas.microsoft.com/office/drawing/2014/main" id="{26E4EACD-D99D-4CEA-B04A-D98D8C5F329E}"/>
                </a:ext>
              </a:extLst>
            </p:cNvPr>
            <p:cNvSpPr/>
            <p:nvPr/>
          </p:nvSpPr>
          <p:spPr>
            <a:xfrm>
              <a:off x="5157469" y="2990691"/>
              <a:ext cx="1374457" cy="879157"/>
            </a:xfrm>
            <a:custGeom>
              <a:avLst/>
              <a:gdLst>
                <a:gd name="connsiteX0" fmla="*/ 239077 w 1374457"/>
                <a:gd name="connsiteY0" fmla="*/ 241935 h 879157"/>
                <a:gd name="connsiteX1" fmla="*/ 244792 w 1374457"/>
                <a:gd name="connsiteY1" fmla="*/ 198120 h 879157"/>
                <a:gd name="connsiteX2" fmla="*/ 262890 w 1374457"/>
                <a:gd name="connsiteY2" fmla="*/ 160020 h 879157"/>
                <a:gd name="connsiteX3" fmla="*/ 294322 w 1374457"/>
                <a:gd name="connsiteY3" fmla="*/ 132398 h 879157"/>
                <a:gd name="connsiteX4" fmla="*/ 340995 w 1374457"/>
                <a:gd name="connsiteY4" fmla="*/ 121920 h 879157"/>
                <a:gd name="connsiteX5" fmla="*/ 1374458 w 1374457"/>
                <a:gd name="connsiteY5" fmla="*/ 121920 h 879157"/>
                <a:gd name="connsiteX6" fmla="*/ 1374458 w 1374457"/>
                <a:gd name="connsiteY6" fmla="*/ 0 h 879157"/>
                <a:gd name="connsiteX7" fmla="*/ 258127 w 1374457"/>
                <a:gd name="connsiteY7" fmla="*/ 0 h 879157"/>
                <a:gd name="connsiteX8" fmla="*/ 140017 w 1374457"/>
                <a:gd name="connsiteY8" fmla="*/ 20003 h 879157"/>
                <a:gd name="connsiteX9" fmla="*/ 60008 w 1374457"/>
                <a:gd name="connsiteY9" fmla="*/ 72390 h 879157"/>
                <a:gd name="connsiteX10" fmla="*/ 14288 w 1374457"/>
                <a:gd name="connsiteY10" fmla="*/ 149542 h 879157"/>
                <a:gd name="connsiteX11" fmla="*/ 0 w 1374457"/>
                <a:gd name="connsiteY11" fmla="*/ 241935 h 879157"/>
                <a:gd name="connsiteX12" fmla="*/ 0 w 1374457"/>
                <a:gd name="connsiteY12" fmla="*/ 258128 h 879157"/>
                <a:gd name="connsiteX13" fmla="*/ 14288 w 1374457"/>
                <a:gd name="connsiteY13" fmla="*/ 350520 h 879157"/>
                <a:gd name="connsiteX14" fmla="*/ 60008 w 1374457"/>
                <a:gd name="connsiteY14" fmla="*/ 427673 h 879157"/>
                <a:gd name="connsiteX15" fmla="*/ 140017 w 1374457"/>
                <a:gd name="connsiteY15" fmla="*/ 480060 h 879157"/>
                <a:gd name="connsiteX16" fmla="*/ 258127 w 1374457"/>
                <a:gd name="connsiteY16" fmla="*/ 500063 h 879157"/>
                <a:gd name="connsiteX17" fmla="*/ 1034415 w 1374457"/>
                <a:gd name="connsiteY17" fmla="*/ 500063 h 879157"/>
                <a:gd name="connsiteX18" fmla="*/ 1081087 w 1374457"/>
                <a:gd name="connsiteY18" fmla="*/ 510540 h 879157"/>
                <a:gd name="connsiteX19" fmla="*/ 1112520 w 1374457"/>
                <a:gd name="connsiteY19" fmla="*/ 538163 h 879157"/>
                <a:gd name="connsiteX20" fmla="*/ 1130618 w 1374457"/>
                <a:gd name="connsiteY20" fmla="*/ 576263 h 879157"/>
                <a:gd name="connsiteX21" fmla="*/ 1136333 w 1374457"/>
                <a:gd name="connsiteY21" fmla="*/ 620078 h 879157"/>
                <a:gd name="connsiteX22" fmla="*/ 1136333 w 1374457"/>
                <a:gd name="connsiteY22" fmla="*/ 636270 h 879157"/>
                <a:gd name="connsiteX23" fmla="*/ 1130618 w 1374457"/>
                <a:gd name="connsiteY23" fmla="*/ 680085 h 879157"/>
                <a:gd name="connsiteX24" fmla="*/ 1112520 w 1374457"/>
                <a:gd name="connsiteY24" fmla="*/ 718185 h 879157"/>
                <a:gd name="connsiteX25" fmla="*/ 1081087 w 1374457"/>
                <a:gd name="connsiteY25" fmla="*/ 745808 h 879157"/>
                <a:gd name="connsiteX26" fmla="*/ 1034415 w 1374457"/>
                <a:gd name="connsiteY26" fmla="*/ 756285 h 879157"/>
                <a:gd name="connsiteX27" fmla="*/ 952 w 1374457"/>
                <a:gd name="connsiteY27" fmla="*/ 756285 h 879157"/>
                <a:gd name="connsiteX28" fmla="*/ 952 w 1374457"/>
                <a:gd name="connsiteY28" fmla="*/ 879158 h 879157"/>
                <a:gd name="connsiteX29" fmla="*/ 1116330 w 1374457"/>
                <a:gd name="connsiteY29" fmla="*/ 879158 h 879157"/>
                <a:gd name="connsiteX30" fmla="*/ 1234440 w 1374457"/>
                <a:gd name="connsiteY30" fmla="*/ 859155 h 879157"/>
                <a:gd name="connsiteX31" fmla="*/ 1314450 w 1374457"/>
                <a:gd name="connsiteY31" fmla="*/ 806768 h 879157"/>
                <a:gd name="connsiteX32" fmla="*/ 1360170 w 1374457"/>
                <a:gd name="connsiteY32" fmla="*/ 729615 h 879157"/>
                <a:gd name="connsiteX33" fmla="*/ 1374458 w 1374457"/>
                <a:gd name="connsiteY33" fmla="*/ 637223 h 879157"/>
                <a:gd name="connsiteX34" fmla="*/ 1374458 w 1374457"/>
                <a:gd name="connsiteY34" fmla="*/ 621030 h 879157"/>
                <a:gd name="connsiteX35" fmla="*/ 1360170 w 1374457"/>
                <a:gd name="connsiteY35" fmla="*/ 528638 h 879157"/>
                <a:gd name="connsiteX36" fmla="*/ 1314450 w 1374457"/>
                <a:gd name="connsiteY36" fmla="*/ 451485 h 879157"/>
                <a:gd name="connsiteX37" fmla="*/ 1234440 w 1374457"/>
                <a:gd name="connsiteY37" fmla="*/ 399098 h 879157"/>
                <a:gd name="connsiteX38" fmla="*/ 1116330 w 1374457"/>
                <a:gd name="connsiteY38" fmla="*/ 379095 h 879157"/>
                <a:gd name="connsiteX39" fmla="*/ 340042 w 1374457"/>
                <a:gd name="connsiteY39" fmla="*/ 379095 h 879157"/>
                <a:gd name="connsiteX40" fmla="*/ 293370 w 1374457"/>
                <a:gd name="connsiteY40" fmla="*/ 368618 h 879157"/>
                <a:gd name="connsiteX41" fmla="*/ 261938 w 1374457"/>
                <a:gd name="connsiteY41" fmla="*/ 340995 h 879157"/>
                <a:gd name="connsiteX42" fmla="*/ 243840 w 1374457"/>
                <a:gd name="connsiteY42" fmla="*/ 302895 h 879157"/>
                <a:gd name="connsiteX43" fmla="*/ 238125 w 1374457"/>
                <a:gd name="connsiteY43" fmla="*/ 259080 h 879157"/>
                <a:gd name="connsiteX44" fmla="*/ 238125 w 1374457"/>
                <a:gd name="connsiteY44" fmla="*/ 241935 h 879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74457" h="879157">
                  <a:moveTo>
                    <a:pt x="239077" y="241935"/>
                  </a:moveTo>
                  <a:cubicBezTo>
                    <a:pt x="239077" y="226695"/>
                    <a:pt x="240983" y="212408"/>
                    <a:pt x="244792" y="198120"/>
                  </a:cubicBezTo>
                  <a:cubicBezTo>
                    <a:pt x="248602" y="183833"/>
                    <a:pt x="254317" y="171450"/>
                    <a:pt x="262890" y="160020"/>
                  </a:cubicBezTo>
                  <a:cubicBezTo>
                    <a:pt x="270510" y="148590"/>
                    <a:pt x="281940" y="140018"/>
                    <a:pt x="294322" y="132398"/>
                  </a:cubicBezTo>
                  <a:cubicBezTo>
                    <a:pt x="307658" y="125730"/>
                    <a:pt x="322897" y="121920"/>
                    <a:pt x="340995" y="121920"/>
                  </a:cubicBezTo>
                  <a:lnTo>
                    <a:pt x="1374458" y="121920"/>
                  </a:lnTo>
                  <a:lnTo>
                    <a:pt x="1374458" y="0"/>
                  </a:lnTo>
                  <a:lnTo>
                    <a:pt x="258127" y="0"/>
                  </a:lnTo>
                  <a:cubicBezTo>
                    <a:pt x="212408" y="0"/>
                    <a:pt x="173355" y="6668"/>
                    <a:pt x="140017" y="20003"/>
                  </a:cubicBezTo>
                  <a:cubicBezTo>
                    <a:pt x="107633" y="32385"/>
                    <a:pt x="80963" y="50483"/>
                    <a:pt x="60008" y="72390"/>
                  </a:cubicBezTo>
                  <a:cubicBezTo>
                    <a:pt x="39052" y="95250"/>
                    <a:pt x="24765" y="120968"/>
                    <a:pt x="14288" y="149542"/>
                  </a:cubicBezTo>
                  <a:cubicBezTo>
                    <a:pt x="4763" y="178117"/>
                    <a:pt x="0" y="209550"/>
                    <a:pt x="0" y="241935"/>
                  </a:cubicBezTo>
                  <a:lnTo>
                    <a:pt x="0" y="258128"/>
                  </a:lnTo>
                  <a:cubicBezTo>
                    <a:pt x="0" y="290513"/>
                    <a:pt x="4763" y="321945"/>
                    <a:pt x="14288" y="350520"/>
                  </a:cubicBezTo>
                  <a:cubicBezTo>
                    <a:pt x="23813" y="379095"/>
                    <a:pt x="39052" y="404813"/>
                    <a:pt x="60008" y="427673"/>
                  </a:cubicBezTo>
                  <a:cubicBezTo>
                    <a:pt x="80963" y="449580"/>
                    <a:pt x="107633" y="467678"/>
                    <a:pt x="140017" y="480060"/>
                  </a:cubicBezTo>
                  <a:cubicBezTo>
                    <a:pt x="172402" y="493395"/>
                    <a:pt x="212408" y="499110"/>
                    <a:pt x="258127" y="500063"/>
                  </a:cubicBezTo>
                  <a:cubicBezTo>
                    <a:pt x="526733" y="500063"/>
                    <a:pt x="765810" y="500063"/>
                    <a:pt x="1034415" y="500063"/>
                  </a:cubicBezTo>
                  <a:cubicBezTo>
                    <a:pt x="1052512" y="500063"/>
                    <a:pt x="1067752" y="503873"/>
                    <a:pt x="1081087" y="510540"/>
                  </a:cubicBezTo>
                  <a:cubicBezTo>
                    <a:pt x="1093470" y="517207"/>
                    <a:pt x="1104900" y="526733"/>
                    <a:pt x="1112520" y="538163"/>
                  </a:cubicBezTo>
                  <a:cubicBezTo>
                    <a:pt x="1120140" y="549593"/>
                    <a:pt x="1126808" y="561975"/>
                    <a:pt x="1130618" y="576263"/>
                  </a:cubicBezTo>
                  <a:cubicBezTo>
                    <a:pt x="1134427" y="590550"/>
                    <a:pt x="1136333" y="604838"/>
                    <a:pt x="1136333" y="620078"/>
                  </a:cubicBezTo>
                  <a:lnTo>
                    <a:pt x="1136333" y="636270"/>
                  </a:lnTo>
                  <a:cubicBezTo>
                    <a:pt x="1136333" y="650558"/>
                    <a:pt x="1134427" y="665798"/>
                    <a:pt x="1130618" y="680085"/>
                  </a:cubicBezTo>
                  <a:cubicBezTo>
                    <a:pt x="1126808" y="694373"/>
                    <a:pt x="1121093" y="706755"/>
                    <a:pt x="1112520" y="718185"/>
                  </a:cubicBezTo>
                  <a:cubicBezTo>
                    <a:pt x="1104900" y="729615"/>
                    <a:pt x="1093470" y="738188"/>
                    <a:pt x="1081087" y="745808"/>
                  </a:cubicBezTo>
                  <a:cubicBezTo>
                    <a:pt x="1067752" y="752475"/>
                    <a:pt x="1052512" y="756285"/>
                    <a:pt x="1034415" y="756285"/>
                  </a:cubicBezTo>
                  <a:lnTo>
                    <a:pt x="952" y="756285"/>
                  </a:lnTo>
                  <a:lnTo>
                    <a:pt x="952" y="879158"/>
                  </a:lnTo>
                  <a:lnTo>
                    <a:pt x="1116330" y="879158"/>
                  </a:lnTo>
                  <a:cubicBezTo>
                    <a:pt x="1162050" y="879158"/>
                    <a:pt x="1201102" y="872490"/>
                    <a:pt x="1234440" y="859155"/>
                  </a:cubicBezTo>
                  <a:cubicBezTo>
                    <a:pt x="1266825" y="846773"/>
                    <a:pt x="1293495" y="828675"/>
                    <a:pt x="1314450" y="806768"/>
                  </a:cubicBezTo>
                  <a:cubicBezTo>
                    <a:pt x="1335405" y="783908"/>
                    <a:pt x="1349693" y="758190"/>
                    <a:pt x="1360170" y="729615"/>
                  </a:cubicBezTo>
                  <a:cubicBezTo>
                    <a:pt x="1369695" y="701040"/>
                    <a:pt x="1374458" y="669608"/>
                    <a:pt x="1374458" y="637223"/>
                  </a:cubicBezTo>
                  <a:lnTo>
                    <a:pt x="1374458" y="621030"/>
                  </a:lnTo>
                  <a:cubicBezTo>
                    <a:pt x="1374458" y="588645"/>
                    <a:pt x="1369695" y="557213"/>
                    <a:pt x="1360170" y="528638"/>
                  </a:cubicBezTo>
                  <a:cubicBezTo>
                    <a:pt x="1350645" y="500063"/>
                    <a:pt x="1335405" y="474345"/>
                    <a:pt x="1314450" y="451485"/>
                  </a:cubicBezTo>
                  <a:cubicBezTo>
                    <a:pt x="1293495" y="429578"/>
                    <a:pt x="1266825" y="411480"/>
                    <a:pt x="1234440" y="399098"/>
                  </a:cubicBezTo>
                  <a:cubicBezTo>
                    <a:pt x="1202055" y="385763"/>
                    <a:pt x="1163002" y="380048"/>
                    <a:pt x="1116330" y="379095"/>
                  </a:cubicBezTo>
                  <a:cubicBezTo>
                    <a:pt x="847725" y="379095"/>
                    <a:pt x="608647" y="379095"/>
                    <a:pt x="340042" y="379095"/>
                  </a:cubicBezTo>
                  <a:cubicBezTo>
                    <a:pt x="321945" y="379095"/>
                    <a:pt x="306705" y="375285"/>
                    <a:pt x="293370" y="368618"/>
                  </a:cubicBezTo>
                  <a:cubicBezTo>
                    <a:pt x="280988" y="361950"/>
                    <a:pt x="270510" y="352425"/>
                    <a:pt x="261938" y="340995"/>
                  </a:cubicBezTo>
                  <a:cubicBezTo>
                    <a:pt x="254317" y="329565"/>
                    <a:pt x="247650" y="317183"/>
                    <a:pt x="243840" y="302895"/>
                  </a:cubicBezTo>
                  <a:cubicBezTo>
                    <a:pt x="240030" y="288608"/>
                    <a:pt x="238125" y="274320"/>
                    <a:pt x="238125" y="259080"/>
                  </a:cubicBezTo>
                  <a:lnTo>
                    <a:pt x="238125" y="2419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  <p:sp>
          <p:nvSpPr>
            <p:cNvPr id="32" name="Grafik 3">
              <a:extLst>
                <a:ext uri="{FF2B5EF4-FFF2-40B4-BE49-F238E27FC236}">
                  <a16:creationId xmlns:a16="http://schemas.microsoft.com/office/drawing/2014/main" id="{8FAD6618-94F4-4AB9-81C5-F112A2CCEDAA}"/>
                </a:ext>
              </a:extLst>
            </p:cNvPr>
            <p:cNvSpPr/>
            <p:nvPr/>
          </p:nvSpPr>
          <p:spPr>
            <a:xfrm>
              <a:off x="8043544" y="2990691"/>
              <a:ext cx="469582" cy="876300"/>
            </a:xfrm>
            <a:custGeom>
              <a:avLst/>
              <a:gdLst>
                <a:gd name="connsiteX0" fmla="*/ 231458 w 469582"/>
                <a:gd name="connsiteY0" fmla="*/ 241935 h 876300"/>
                <a:gd name="connsiteX1" fmla="*/ 225743 w 469582"/>
                <a:gd name="connsiteY1" fmla="*/ 198120 h 876300"/>
                <a:gd name="connsiteX2" fmla="*/ 207645 w 469582"/>
                <a:gd name="connsiteY2" fmla="*/ 160020 h 876300"/>
                <a:gd name="connsiteX3" fmla="*/ 176213 w 469582"/>
                <a:gd name="connsiteY3" fmla="*/ 132398 h 876300"/>
                <a:gd name="connsiteX4" fmla="*/ 129540 w 469582"/>
                <a:gd name="connsiteY4" fmla="*/ 121920 h 876300"/>
                <a:gd name="connsiteX5" fmla="*/ 0 w 469582"/>
                <a:gd name="connsiteY5" fmla="*/ 121920 h 876300"/>
                <a:gd name="connsiteX6" fmla="*/ 0 w 469582"/>
                <a:gd name="connsiteY6" fmla="*/ 0 h 876300"/>
                <a:gd name="connsiteX7" fmla="*/ 211455 w 469582"/>
                <a:gd name="connsiteY7" fmla="*/ 0 h 876300"/>
                <a:gd name="connsiteX8" fmla="*/ 329565 w 469582"/>
                <a:gd name="connsiteY8" fmla="*/ 20003 h 876300"/>
                <a:gd name="connsiteX9" fmla="*/ 409575 w 469582"/>
                <a:gd name="connsiteY9" fmla="*/ 72390 h 876300"/>
                <a:gd name="connsiteX10" fmla="*/ 455295 w 469582"/>
                <a:gd name="connsiteY10" fmla="*/ 149542 h 876300"/>
                <a:gd name="connsiteX11" fmla="*/ 469583 w 469582"/>
                <a:gd name="connsiteY11" fmla="*/ 241935 h 876300"/>
                <a:gd name="connsiteX12" fmla="*/ 469583 w 469582"/>
                <a:gd name="connsiteY12" fmla="*/ 876300 h 876300"/>
                <a:gd name="connsiteX13" fmla="*/ 231458 w 469582"/>
                <a:gd name="connsiteY13" fmla="*/ 876300 h 876300"/>
                <a:gd name="connsiteX14" fmla="*/ 231458 w 469582"/>
                <a:gd name="connsiteY14" fmla="*/ 241935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9582" h="876300">
                  <a:moveTo>
                    <a:pt x="231458" y="241935"/>
                  </a:moveTo>
                  <a:cubicBezTo>
                    <a:pt x="231458" y="226695"/>
                    <a:pt x="229553" y="212408"/>
                    <a:pt x="225743" y="198120"/>
                  </a:cubicBezTo>
                  <a:cubicBezTo>
                    <a:pt x="221933" y="183833"/>
                    <a:pt x="216218" y="171450"/>
                    <a:pt x="207645" y="160020"/>
                  </a:cubicBezTo>
                  <a:cubicBezTo>
                    <a:pt x="200025" y="148590"/>
                    <a:pt x="188595" y="140018"/>
                    <a:pt x="176213" y="132398"/>
                  </a:cubicBezTo>
                  <a:cubicBezTo>
                    <a:pt x="162878" y="125730"/>
                    <a:pt x="147638" y="121920"/>
                    <a:pt x="129540" y="121920"/>
                  </a:cubicBezTo>
                  <a:lnTo>
                    <a:pt x="0" y="121920"/>
                  </a:lnTo>
                  <a:lnTo>
                    <a:pt x="0" y="0"/>
                  </a:lnTo>
                  <a:lnTo>
                    <a:pt x="211455" y="0"/>
                  </a:lnTo>
                  <a:cubicBezTo>
                    <a:pt x="257175" y="0"/>
                    <a:pt x="296228" y="6668"/>
                    <a:pt x="329565" y="20003"/>
                  </a:cubicBezTo>
                  <a:cubicBezTo>
                    <a:pt x="361950" y="32385"/>
                    <a:pt x="388620" y="50483"/>
                    <a:pt x="409575" y="72390"/>
                  </a:cubicBezTo>
                  <a:cubicBezTo>
                    <a:pt x="430530" y="95250"/>
                    <a:pt x="444818" y="120968"/>
                    <a:pt x="455295" y="149542"/>
                  </a:cubicBezTo>
                  <a:cubicBezTo>
                    <a:pt x="464820" y="178117"/>
                    <a:pt x="469583" y="209550"/>
                    <a:pt x="469583" y="241935"/>
                  </a:cubicBezTo>
                  <a:lnTo>
                    <a:pt x="469583" y="876300"/>
                  </a:lnTo>
                  <a:lnTo>
                    <a:pt x="231458" y="876300"/>
                  </a:lnTo>
                  <a:lnTo>
                    <a:pt x="231458" y="2419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2399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85C2FEE-0462-4729-8DD7-2BC2ACC990DB}"/>
              </a:ext>
            </a:extLst>
          </p:cNvPr>
          <p:cNvSpPr txBox="1"/>
          <p:nvPr/>
        </p:nvSpPr>
        <p:spPr>
          <a:xfrm>
            <a:off x="4304405" y="6565124"/>
            <a:ext cx="1009367" cy="15385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indent="0" algn="l" defTabSz="914126" eaLnBrk="0" hangingPunct="0">
              <a:lnSpc>
                <a:spcPct val="100000"/>
              </a:lnSpc>
              <a:spcBef>
                <a:spcPts val="0"/>
              </a:spcBef>
              <a:buClr>
                <a:srgbClr val="003366"/>
              </a:buClr>
              <a:buSzPct val="100000"/>
              <a:buFontTx/>
              <a:buNone/>
            </a:pPr>
            <a:fld id="{1EBF441E-4961-49F4-A3C1-D6120246FD6D}" type="slidenum">
              <a:rPr kumimoji="0" lang="de-DE" sz="999" smtClean="0">
                <a:solidFill>
                  <a:schemeClr val="tx2"/>
                </a:solidFill>
                <a:latin typeface="+mn-lt"/>
                <a:ea typeface="ＭＳ Ｐゴシック"/>
              </a:rPr>
              <a:pPr marL="0" indent="0" algn="l" defTabSz="914126" eaLnBrk="0" hangingPunct="0">
                <a:lnSpc>
                  <a:spcPct val="100000"/>
                </a:lnSpc>
                <a:spcBef>
                  <a:spcPts val="0"/>
                </a:spcBef>
                <a:buClr>
                  <a:srgbClr val="003366"/>
                </a:buClr>
                <a:buSzPct val="100000"/>
                <a:buFontTx/>
                <a:buNone/>
              </a:pPr>
              <a:t>‹#›</a:t>
            </a:fld>
            <a:endParaRPr kumimoji="0" lang="de-DE" sz="999" dirty="0">
              <a:solidFill>
                <a:schemeClr val="tx2"/>
              </a:solidFill>
              <a:latin typeface="+mn-lt"/>
              <a:ea typeface="ＭＳ Ｐゴシック"/>
            </a:endParaRPr>
          </a:p>
        </p:txBody>
      </p:sp>
      <p:cxnSp>
        <p:nvCxnSpPr>
          <p:cNvPr id="35" name="直線コネクタ 20">
            <a:extLst>
              <a:ext uri="{FF2B5EF4-FFF2-40B4-BE49-F238E27FC236}">
                <a16:creationId xmlns:a16="http://schemas.microsoft.com/office/drawing/2014/main" id="{A2C460B9-9429-49FF-8BE4-FA75ADDA2D2C}"/>
              </a:ext>
            </a:extLst>
          </p:cNvPr>
          <p:cNvCxnSpPr/>
          <p:nvPr/>
        </p:nvCxnSpPr>
        <p:spPr>
          <a:xfrm>
            <a:off x="4146133" y="6534063"/>
            <a:ext cx="0" cy="215974"/>
          </a:xfrm>
          <a:prstGeom prst="line">
            <a:avLst/>
          </a:prstGeom>
          <a:ln w="3175" cmpd="sng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117D2943-EDDC-4EF7-865C-AE53F041A29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07" y="6433185"/>
            <a:ext cx="1158150" cy="41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4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/>
  <p:txStyles>
    <p:titleStyle>
      <a:lvl1pPr algn="l" defTabSz="1088780" rtl="0" eaLnBrk="1" latinLnBrk="0" hangingPunct="1">
        <a:spcBef>
          <a:spcPct val="0"/>
        </a:spcBef>
        <a:buNone/>
        <a:defRPr kumimoji="1" sz="2799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268154" indent="-268154" algn="l" defTabSz="108878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•"/>
        <a:defRPr kumimoji="1" sz="1999" kern="1200">
          <a:solidFill>
            <a:schemeClr val="tx1"/>
          </a:solidFill>
          <a:latin typeface="+mn-lt"/>
          <a:ea typeface="+mj-ea"/>
          <a:cs typeface="+mn-cs"/>
        </a:defRPr>
      </a:lvl1pPr>
      <a:lvl2pPr marL="536307" indent="-268154" algn="l" defTabSz="1088780" rtl="0" eaLnBrk="1" latinLnBrk="0" hangingPunct="1"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kumimoji="1" sz="1999" kern="1200">
          <a:solidFill>
            <a:schemeClr val="tx1"/>
          </a:solidFill>
          <a:latin typeface="+mn-lt"/>
          <a:ea typeface="+mj-ea"/>
          <a:cs typeface="+mn-cs"/>
        </a:defRPr>
      </a:lvl2pPr>
      <a:lvl3pPr marL="804461" indent="-268154" algn="l" defTabSz="108878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•"/>
        <a:defRPr kumimoji="1" sz="1999" kern="1200">
          <a:solidFill>
            <a:schemeClr val="tx1"/>
          </a:solidFill>
          <a:latin typeface="+mn-lt"/>
          <a:ea typeface="+mj-ea"/>
          <a:cs typeface="+mn-cs"/>
        </a:defRPr>
      </a:lvl3pPr>
      <a:lvl4pPr marL="1905365" indent="-272195" algn="l" defTabSz="1088780" rtl="0" eaLnBrk="1" latinLnBrk="0" hangingPunct="1">
        <a:spcBef>
          <a:spcPct val="20000"/>
        </a:spcBef>
        <a:buFont typeface="Arial" pitchFamily="34" charset="0"/>
        <a:buChar char="–"/>
        <a:defRPr kumimoji="1" sz="1799" kern="1200">
          <a:solidFill>
            <a:schemeClr val="tx1"/>
          </a:solidFill>
          <a:latin typeface="+mn-lt"/>
          <a:ea typeface="+mj-ea"/>
          <a:cs typeface="+mn-cs"/>
        </a:defRPr>
      </a:lvl4pPr>
      <a:lvl5pPr marL="2449756" indent="-272195" algn="l" defTabSz="1088780" rtl="0" eaLnBrk="1" latinLnBrk="0" hangingPunct="1">
        <a:spcBef>
          <a:spcPct val="20000"/>
        </a:spcBef>
        <a:buFont typeface="Arial" pitchFamily="34" charset="0"/>
        <a:buChar char="»"/>
        <a:defRPr kumimoji="1" sz="1799" kern="1200">
          <a:solidFill>
            <a:schemeClr val="tx1"/>
          </a:solidFill>
          <a:latin typeface="+mn-lt"/>
          <a:ea typeface="+mj-ea"/>
          <a:cs typeface="+mn-cs"/>
        </a:defRPr>
      </a:lvl5pPr>
      <a:lvl6pPr marL="2994145" indent="-272195" algn="l" defTabSz="1088780" rtl="0" eaLnBrk="1" latinLnBrk="0" hangingPunct="1">
        <a:spcBef>
          <a:spcPct val="20000"/>
        </a:spcBef>
        <a:buFont typeface="Arial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8535" indent="-272195" algn="l" defTabSz="1088780" rtl="0" eaLnBrk="1" latinLnBrk="0" hangingPunct="1">
        <a:spcBef>
          <a:spcPct val="20000"/>
        </a:spcBef>
        <a:buFont typeface="Arial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2926" indent="-272195" algn="l" defTabSz="1088780" rtl="0" eaLnBrk="1" latinLnBrk="0" hangingPunct="1">
        <a:spcBef>
          <a:spcPct val="20000"/>
        </a:spcBef>
        <a:buFont typeface="Arial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7315" indent="-272195" algn="l" defTabSz="1088780" rtl="0" eaLnBrk="1" latinLnBrk="0" hangingPunct="1">
        <a:spcBef>
          <a:spcPct val="20000"/>
        </a:spcBef>
        <a:buFont typeface="Arial" pitchFamily="34" charset="0"/>
        <a:buChar char="•"/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39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78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317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756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95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634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10731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5120" algn="l" defTabSz="1088780" rtl="0" eaLnBrk="1" latinLnBrk="0" hangingPunct="1">
        <a:defRPr kumimoji="1"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86">
          <p15:clr>
            <a:srgbClr val="F26B43"/>
          </p15:clr>
        </p15:guide>
        <p15:guide id="2" pos="261">
          <p15:clr>
            <a:srgbClr val="F26B43"/>
          </p15:clr>
        </p15:guide>
        <p15:guide id="3" pos="7405">
          <p15:clr>
            <a:srgbClr val="F26B43"/>
          </p15:clr>
        </p15:guide>
        <p15:guide id="4" orient="horz" pos="39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0.png"/><Relationship Id="rId13" Type="http://schemas.openxmlformats.org/officeDocument/2006/relationships/image" Target="../media/image49.png"/><Relationship Id="rId18" Type="http://schemas.openxmlformats.org/officeDocument/2006/relationships/image" Target="../media/image51.png"/><Relationship Id="rId3" Type="http://schemas.openxmlformats.org/officeDocument/2006/relationships/image" Target="../media/image46.png"/><Relationship Id="rId21" Type="http://schemas.openxmlformats.org/officeDocument/2006/relationships/image" Target="../media/image56.png"/><Relationship Id="rId7" Type="http://schemas.openxmlformats.org/officeDocument/2006/relationships/image" Target="../media/image48.svg"/><Relationship Id="rId12" Type="http://schemas.openxmlformats.org/officeDocument/2006/relationships/image" Target="../media/image470.png"/><Relationship Id="rId17" Type="http://schemas.openxmlformats.org/officeDocument/2006/relationships/image" Target="../media/image53.png"/><Relationship Id="rId2" Type="http://schemas.openxmlformats.org/officeDocument/2006/relationships/image" Target="../media/image45.png"/><Relationship Id="rId16" Type="http://schemas.openxmlformats.org/officeDocument/2006/relationships/image" Target="../media/image52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7.png"/><Relationship Id="rId11" Type="http://schemas.openxmlformats.org/officeDocument/2006/relationships/image" Target="../media/image48.png"/><Relationship Id="rId5" Type="http://schemas.openxmlformats.org/officeDocument/2006/relationships/image" Target="../media/image461.png"/><Relationship Id="rId15" Type="http://schemas.openxmlformats.org/officeDocument/2006/relationships/image" Target="../media/image35.jpg"/><Relationship Id="rId23" Type="http://schemas.openxmlformats.org/officeDocument/2006/relationships/image" Target="../media/image58.png"/><Relationship Id="rId10" Type="http://schemas.openxmlformats.org/officeDocument/2006/relationships/image" Target="../media/image460.png"/><Relationship Id="rId19" Type="http://schemas.openxmlformats.org/officeDocument/2006/relationships/image" Target="../media/image54.png"/><Relationship Id="rId9" Type="http://schemas.openxmlformats.org/officeDocument/2006/relationships/image" Target="../media/image450.png"/><Relationship Id="rId14" Type="http://schemas.openxmlformats.org/officeDocument/2006/relationships/image" Target="../media/image50.png"/><Relationship Id="rId22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5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61.png"/><Relationship Id="rId5" Type="http://schemas.openxmlformats.org/officeDocument/2006/relationships/image" Target="../media/image540.png"/><Relationship Id="rId4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80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2_308E7F8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DB_3EDCCDB2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CC_8FDCB8F4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B9_CE82F85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microsoft.com/office/2018/10/relationships/comments" Target="../comments/modernComment_1CD_8A607624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0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13" Type="http://schemas.openxmlformats.org/officeDocument/2006/relationships/image" Target="../media/image92.jpe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jpe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5.png"/><Relationship Id="rId11" Type="http://schemas.openxmlformats.org/officeDocument/2006/relationships/image" Target="../media/image90.jpeg"/><Relationship Id="rId5" Type="http://schemas.openxmlformats.org/officeDocument/2006/relationships/image" Target="../media/image84.png"/><Relationship Id="rId10" Type="http://schemas.openxmlformats.org/officeDocument/2006/relationships/image" Target="../media/image89.jpeg"/><Relationship Id="rId4" Type="http://schemas.openxmlformats.org/officeDocument/2006/relationships/image" Target="../media/image83.png"/><Relationship Id="rId9" Type="http://schemas.openxmlformats.org/officeDocument/2006/relationships/image" Target="../media/image88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8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1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0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7_8884E33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microsoft.com/office/2018/10/relationships/comments" Target="../comments/modernComment_1C8_192D7761.xml"/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microsoft.com/office/2018/10/relationships/comments" Target="../comments/modernComment_1C9_C6E00A5E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microsoft.com/office/2018/10/relationships/comments" Target="../comments/modernComment_1CA_6EE2B4D6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0.png"/><Relationship Id="rId7" Type="http://schemas.openxmlformats.org/officeDocument/2006/relationships/image" Target="../media/image30.svg"/><Relationship Id="rId2" Type="http://schemas.microsoft.com/office/2018/10/relationships/comments" Target="../comments/modernComment_1BD_938D52AF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1.svg"/><Relationship Id="rId9" Type="http://schemas.openxmlformats.org/officeDocument/2006/relationships/image" Target="../media/image32.svg"/></Relationships>
</file>

<file path=ppt/slides/_rels/slide50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F2_7F091B43.xml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3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5.jpg"/><Relationship Id="rId5" Type="http://schemas.openxmlformats.org/officeDocument/2006/relationships/image" Target="../media/image310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Fictiverse/Stable_Diffusion_Microscopic_model" TargetMode="External"/><Relationship Id="rId3" Type="http://schemas.openxmlformats.org/officeDocument/2006/relationships/image" Target="../media/image37.jpeg"/><Relationship Id="rId7" Type="http://schemas.openxmlformats.org/officeDocument/2006/relationships/image" Target="../media/image41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Relationship Id="rId9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ctrTitle"/>
          </p:nvPr>
        </p:nvSpPr>
        <p:spPr>
          <a:xfrm>
            <a:off x="410543" y="2293122"/>
            <a:ext cx="11335199" cy="1107996"/>
          </a:xfrm>
        </p:spPr>
        <p:txBody>
          <a:bodyPr/>
          <a:lstStyle/>
          <a:p>
            <a:r>
              <a:rPr lang="en-US" sz="3600" b="0" i="0" dirty="0">
                <a:effectLst/>
                <a:latin typeface="Arial" panose="020B0604020202020204" pitchFamily="34" charset="0"/>
              </a:rPr>
              <a:t>CROSS-NET: IN-LINE HOLOGRAPHIC IMAGE RECONSTRUCTION AND REFOCUSING</a:t>
            </a:r>
            <a:endParaRPr kumimoji="1" lang="ja-JP" altLang="en-US" sz="3600" dirty="0"/>
          </a:p>
        </p:txBody>
      </p:sp>
      <p:sp>
        <p:nvSpPr>
          <p:cNvPr id="7" name="サブタイトル 6"/>
          <p:cNvSpPr>
            <a:spLocks noGrp="1"/>
          </p:cNvSpPr>
          <p:nvPr>
            <p:ph type="subTitle" idx="1"/>
          </p:nvPr>
        </p:nvSpPr>
        <p:spPr>
          <a:xfrm>
            <a:off x="406563" y="3933056"/>
            <a:ext cx="11335195" cy="1512168"/>
          </a:xfrm>
        </p:spPr>
        <p:txBody>
          <a:bodyPr/>
          <a:lstStyle/>
          <a:p>
            <a:r>
              <a:rPr lang="en-US" altLang="zh-TW" sz="1950" dirty="0"/>
              <a:t>12/01/2024</a:t>
            </a:r>
            <a:endParaRPr lang="en-US" altLang="zh-TW" dirty="0"/>
          </a:p>
          <a:p>
            <a:r>
              <a:rPr lang="en-US" altLang="zh-TW" sz="1950" dirty="0"/>
              <a:t>Internship Student: Haitao </a:t>
            </a:r>
            <a:r>
              <a:rPr lang="en-US" sz="2000" dirty="0"/>
              <a:t>Zhou</a:t>
            </a:r>
            <a:r>
              <a:rPr lang="en-US" altLang="zh-TW" sz="1950" dirty="0"/>
              <a:t>  </a:t>
            </a:r>
            <a:endParaRPr lang="en-US" sz="1950" dirty="0"/>
          </a:p>
          <a:p>
            <a:r>
              <a:rPr lang="en-US" altLang="zh-TW" sz="1950" dirty="0"/>
              <a:t>Supervisors:</a:t>
            </a:r>
            <a:r>
              <a:rPr lang="en-US" sz="1950" dirty="0"/>
              <a:t> Mazen Mel &amp; Alexander </a:t>
            </a:r>
            <a:r>
              <a:rPr lang="en-US" sz="1950" dirty="0" err="1"/>
              <a:t>Gatto</a:t>
            </a:r>
            <a:endParaRPr lang="en-US" sz="1950" dirty="0">
              <a:cs typeface="Arial"/>
            </a:endParaRPr>
          </a:p>
          <a:p>
            <a:endParaRPr lang="en-US" altLang="zh-TW" dirty="0"/>
          </a:p>
          <a:p>
            <a:r>
              <a:rPr lang="en-US" altLang="zh-TW" dirty="0"/>
              <a:t>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1557940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4752904" cy="430759"/>
          </a:xfrm>
        </p:spPr>
        <p:txBody>
          <a:bodyPr/>
          <a:lstStyle/>
          <a:p>
            <a:r>
              <a:rPr lang="en-US"/>
              <a:t>Complex Field </a:t>
            </a:r>
            <a:r>
              <a:rPr lang="en-US" dirty="0"/>
              <a:t>Generation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66AAAC3-5B6E-7564-CE86-7352BCEDF1B7}"/>
                  </a:ext>
                </a:extLst>
              </p:cNvPr>
              <p:cNvSpPr txBox="1"/>
              <p:nvPr/>
            </p:nvSpPr>
            <p:spPr>
              <a:xfrm>
                <a:off x="360080" y="1977512"/>
                <a:ext cx="11478190" cy="17284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vert the RGB image into grayscale to get </a:t>
                </a:r>
                <a14:m>
                  <m:oMath xmlns:m="http://schemas.openxmlformats.org/officeDocument/2006/math">
                    <m:r>
                      <a:rPr lang="de-DE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𝑰</m:t>
                    </m:r>
                    <m:r>
                      <a:rPr lang="de-DE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normalization it to 0-1:.</a:t>
                </a:r>
                <a:endParaRPr lang="de-DE" sz="1800" b="0" i="1" dirty="0">
                  <a:latin typeface="Cambria Math" panose="02040503050406030204" pitchFamily="18" charset="0"/>
                  <a:cs typeface="Times New Roman" panose="02020603050405020304" pitchFamily="18" charset="0"/>
                </a:endParaRPr>
              </a:p>
              <a:p>
                <a:endPara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enerate complex object transmission: 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endParaRPr lang="de-DE" sz="1800" b="0" i="1" dirty="0">
                  <a:latin typeface="Cambria Math" panose="02040503050406030204" pitchFamily="18" charset="0"/>
                  <a:cs typeface="Times New Roman" panose="02020603050405020304" pitchFamily="18" charset="0"/>
                </a:endParaRPr>
              </a:p>
              <a:p>
                <a:pPr algn="ctr"/>
                <a14:m>
                  <m:oMath xmlns:m="http://schemas.openxmlformats.org/officeDocument/2006/math">
                    <m:r>
                      <a:rPr lang="de-DE" sz="1800" b="1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𝑨</m:t>
                    </m:r>
                    <m:r>
                      <a:rPr lang="de-DE" sz="1800" b="1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de-DE" sz="1800" b="1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𝒆</m:t>
                        </m:r>
                      </m:e>
                      <m:sup>
                        <m:r>
                          <a:rPr lang="de-DE" sz="1800" b="1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de-DE" sz="1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𝜸</m:t>
                        </m:r>
                        <m:r>
                          <a:rPr lang="de-DE" sz="1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𝑰</m:t>
                        </m:r>
                      </m:sup>
                    </m:sSup>
                  </m:oMath>
                </a14:m>
                <a:r>
                  <a:rPr lang="en-US" sz="1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l-GR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𝜱</m:t>
                    </m:r>
                    <m:r>
                      <a:rPr lang="de-DE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de-DE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𝑰</m:t>
                    </m:r>
                  </m:oMath>
                </a14:m>
                <a:endParaRPr lang="en-US" sz="1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1600" dirty="0">
                    <a:latin typeface="Times New Roman" panose="020206030504050203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Where</a:t>
                </a:r>
                <a:r>
                  <a:rPr lang="en-US" sz="1600" dirty="0">
                    <a:ea typeface="Cambria Math" panose="020405030504060302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𝛾</m:t>
                    </m:r>
                  </m:oMath>
                </a14:m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a multiplier controlling transparency.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66AAAC3-5B6E-7564-CE86-7352BCEDF1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0080" y="1977512"/>
                <a:ext cx="11478190" cy="1728487"/>
              </a:xfrm>
              <a:prstGeom prst="rect">
                <a:avLst/>
              </a:prstGeom>
              <a:blipFill>
                <a:blip r:embed="rId2"/>
                <a:stretch>
                  <a:fillRect l="-319" t="-1761" b="-35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Picture 29">
            <a:extLst>
              <a:ext uri="{FF2B5EF4-FFF2-40B4-BE49-F238E27FC236}">
                <a16:creationId xmlns:a16="http://schemas.microsoft.com/office/drawing/2014/main" id="{F08D6DCD-6759-88B9-F3A1-32A3663B62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9255" y="331235"/>
            <a:ext cx="5271718" cy="49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4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295" y="77737"/>
            <a:ext cx="6604372" cy="430759"/>
          </a:xfrm>
        </p:spPr>
        <p:txBody>
          <a:bodyPr/>
          <a:lstStyle/>
          <a:p>
            <a:r>
              <a:rPr lang="en-US" dirty="0"/>
              <a:t>Holographic Image Formation Model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1AE5CDD-15A6-3E11-5F5E-3B63465D8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586" y="3838151"/>
            <a:ext cx="1359637" cy="1134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B4AF095A-554A-5477-7FC5-BE63B64C9E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85" y="2539772"/>
            <a:ext cx="1353938" cy="1129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DDF3A49-DDDF-1B57-A493-69DD76C58038}"/>
              </a:ext>
            </a:extLst>
          </p:cNvPr>
          <p:cNvSpPr/>
          <p:nvPr/>
        </p:nvSpPr>
        <p:spPr>
          <a:xfrm>
            <a:off x="2714799" y="1196752"/>
            <a:ext cx="7733218" cy="4813223"/>
          </a:xfrm>
          <a:prstGeom prst="roundRect">
            <a:avLst>
              <a:gd name="adj" fmla="val 8369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dk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180AB31-1088-18CA-6D77-91F82E6C0CC9}"/>
                  </a:ext>
                </a:extLst>
              </p:cNvPr>
              <p:cNvSpPr txBox="1"/>
              <p:nvPr/>
            </p:nvSpPr>
            <p:spPr>
              <a:xfrm>
                <a:off x="5711105" y="1269760"/>
                <a:ext cx="1740605" cy="385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de-DE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sub>
                      </m:sSub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ℂ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ℝ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180AB31-1088-18CA-6D77-91F82E6C0C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11105" y="1269760"/>
                <a:ext cx="1740605" cy="385555"/>
              </a:xfrm>
              <a:prstGeom prst="rect">
                <a:avLst/>
              </a:prstGeom>
              <a:blipFill>
                <a:blip r:embed="rId5"/>
                <a:stretch>
                  <a:fillRect l="-5614" b="-296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ectangle 13">
            <a:extLst>
              <a:ext uri="{FF2B5EF4-FFF2-40B4-BE49-F238E27FC236}">
                <a16:creationId xmlns:a16="http://schemas.microsoft.com/office/drawing/2014/main" id="{7A6E7080-7B28-F899-51EE-9D06D8766D3F}"/>
              </a:ext>
            </a:extLst>
          </p:cNvPr>
          <p:cNvSpPr/>
          <p:nvPr/>
        </p:nvSpPr>
        <p:spPr>
          <a:xfrm>
            <a:off x="3078732" y="1750203"/>
            <a:ext cx="1669417" cy="4141269"/>
          </a:xfrm>
          <a:prstGeom prst="rect">
            <a:avLst/>
          </a:prstGeom>
          <a:solidFill>
            <a:srgbClr val="00B05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B86134-70BE-6AA2-E881-31E6E7212B89}"/>
              </a:ext>
            </a:extLst>
          </p:cNvPr>
          <p:cNvSpPr txBox="1"/>
          <p:nvPr/>
        </p:nvSpPr>
        <p:spPr>
          <a:xfrm>
            <a:off x="3111334" y="1747154"/>
            <a:ext cx="16042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Interaction</a:t>
            </a:r>
            <a:endParaRPr lang="en-US" sz="20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EE38A48-847F-5CB4-218A-F6D6D4F50909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241223" y="3104589"/>
            <a:ext cx="837509" cy="55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F65AAC7-4216-62D7-2730-F4C1E590F320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2241223" y="4405345"/>
            <a:ext cx="81163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Graphic 17" descr="Lights On with solid fill">
            <a:extLst>
              <a:ext uri="{FF2B5EF4-FFF2-40B4-BE49-F238E27FC236}">
                <a16:creationId xmlns:a16="http://schemas.microsoft.com/office/drawing/2014/main" id="{683B4F9A-286C-A46B-EF10-7AECA4AF40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3597324" y="4623052"/>
            <a:ext cx="596788" cy="59678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91275D6-8184-6AB2-082E-6895DC00FCBE}"/>
              </a:ext>
            </a:extLst>
          </p:cNvPr>
          <p:cNvSpPr/>
          <p:nvPr/>
        </p:nvSpPr>
        <p:spPr>
          <a:xfrm>
            <a:off x="4768802" y="1750203"/>
            <a:ext cx="1669417" cy="4141269"/>
          </a:xfrm>
          <a:prstGeom prst="rect">
            <a:avLst/>
          </a:prstGeom>
          <a:solidFill>
            <a:srgbClr val="00B0F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7F88B2-3B6F-164E-DDE8-E561679EA023}"/>
              </a:ext>
            </a:extLst>
          </p:cNvPr>
          <p:cNvSpPr txBox="1"/>
          <p:nvPr/>
        </p:nvSpPr>
        <p:spPr>
          <a:xfrm>
            <a:off x="4796758" y="1745271"/>
            <a:ext cx="16042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Propagation</a:t>
            </a:r>
            <a:endParaRPr lang="en-US" sz="20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576963F-33FD-FD9D-226B-80C116A86DB4}"/>
              </a:ext>
            </a:extLst>
          </p:cNvPr>
          <p:cNvSpPr/>
          <p:nvPr/>
        </p:nvSpPr>
        <p:spPr>
          <a:xfrm>
            <a:off x="6476603" y="1747153"/>
            <a:ext cx="1868906" cy="4141269"/>
          </a:xfrm>
          <a:prstGeom prst="rect">
            <a:avLst/>
          </a:prstGeom>
          <a:solidFill>
            <a:srgbClr val="FF9574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E1ECBBD-0870-4FBA-F7CA-FBCBACF8AD22}"/>
              </a:ext>
            </a:extLst>
          </p:cNvPr>
          <p:cNvSpPr txBox="1"/>
          <p:nvPr/>
        </p:nvSpPr>
        <p:spPr>
          <a:xfrm>
            <a:off x="6486524" y="1745271"/>
            <a:ext cx="18689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Detection</a:t>
            </a:r>
            <a:endParaRPr 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C315540-F74C-3D05-7DC7-16CC35E92EE8}"/>
                  </a:ext>
                </a:extLst>
              </p:cNvPr>
              <p:cNvSpPr txBox="1"/>
              <p:nvPr/>
            </p:nvSpPr>
            <p:spPr>
              <a:xfrm>
                <a:off x="1439464" y="2568228"/>
                <a:ext cx="59574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𝑨</m:t>
                      </m:r>
                      <m:d>
                        <m:dPr>
                          <m:ctrlPr>
                            <a:rPr lang="de-DE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de-DE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</m:d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C315540-F74C-3D05-7DC7-16CC35E92E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9464" y="2568228"/>
                <a:ext cx="595741" cy="215444"/>
              </a:xfrm>
              <a:prstGeom prst="rect">
                <a:avLst/>
              </a:prstGeom>
              <a:blipFill>
                <a:blip r:embed="rId8"/>
                <a:stretch>
                  <a:fillRect l="-6122" b="-2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C252C357-0197-1231-1498-EE3D24691D2B}"/>
                  </a:ext>
                </a:extLst>
              </p:cNvPr>
              <p:cNvSpPr txBox="1"/>
              <p:nvPr/>
            </p:nvSpPr>
            <p:spPr>
              <a:xfrm>
                <a:off x="1421593" y="3870656"/>
                <a:ext cx="61497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𝝓</m:t>
                      </m:r>
                      <m:d>
                        <m:dPr>
                          <m:ctrlPr>
                            <a:rPr lang="de-DE" sz="14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de-DE" sz="14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</m:d>
                    </m:oMath>
                  </m:oMathPara>
                </a14:m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C252C357-0197-1231-1498-EE3D24691D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21593" y="3870656"/>
                <a:ext cx="614977" cy="215444"/>
              </a:xfrm>
              <a:prstGeom prst="rect">
                <a:avLst/>
              </a:prstGeom>
              <a:blipFill>
                <a:blip r:embed="rId9"/>
                <a:stretch>
                  <a:fillRect l="-8911" b="-3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31A7CF2-617A-362E-8775-8EE092FC5536}"/>
                  </a:ext>
                </a:extLst>
              </p:cNvPr>
              <p:cNvSpPr txBox="1"/>
              <p:nvPr/>
            </p:nvSpPr>
            <p:spPr>
              <a:xfrm>
                <a:off x="2974961" y="3288571"/>
                <a:ext cx="1841512" cy="2327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𝑖𝑡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𝑂𝑏𝑗</m:t>
                          </m:r>
                        </m:sub>
                      </m:sSub>
                    </m:oMath>
                  </m:oMathPara>
                </a14:m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31A7CF2-617A-362E-8775-8EE092FC55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4961" y="3288571"/>
                <a:ext cx="1841512" cy="232756"/>
              </a:xfrm>
              <a:prstGeom prst="rect">
                <a:avLst/>
              </a:prstGeom>
              <a:blipFill>
                <a:blip r:embed="rId10"/>
                <a:stretch>
                  <a:fillRect b="-230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8948032-4BE3-C841-B1D9-75E483176891}"/>
                  </a:ext>
                </a:extLst>
              </p:cNvPr>
              <p:cNvSpPr txBox="1"/>
              <p:nvPr/>
            </p:nvSpPr>
            <p:spPr>
              <a:xfrm>
                <a:off x="4604600" y="3305422"/>
                <a:ext cx="2021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ℱ</m:t>
                          </m:r>
                        </m:e>
                        <m:sup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begChr m:val="{"/>
                          <m:endChr m:val="}"/>
                          <m:ctrlP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ℱ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𝑖𝑡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sSub>
                            <m:sSubPr>
                              <m:ctrlPr>
                                <a:rPr lang="de-DE" sz="1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de-DE" sz="1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8948032-4BE3-C841-B1D9-75E4831768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4600" y="3305422"/>
                <a:ext cx="2021466" cy="184666"/>
              </a:xfrm>
              <a:prstGeom prst="rect">
                <a:avLst/>
              </a:prstGeom>
              <a:blipFill>
                <a:blip r:embed="rId11"/>
                <a:stretch>
                  <a:fillRect b="-161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6194DCE-E843-C57F-058D-25E1749DF8C3}"/>
                  </a:ext>
                </a:extLst>
              </p:cNvPr>
              <p:cNvSpPr txBox="1"/>
              <p:nvPr/>
            </p:nvSpPr>
            <p:spPr>
              <a:xfrm>
                <a:off x="6635987" y="3260659"/>
                <a:ext cx="14736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6194DCE-E843-C57F-058D-25E1749DF8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35987" y="3260659"/>
                <a:ext cx="1473652" cy="246221"/>
              </a:xfrm>
              <a:prstGeom prst="rect">
                <a:avLst/>
              </a:prstGeom>
              <a:blipFill>
                <a:blip r:embed="rId12"/>
                <a:stretch>
                  <a:fillRect b="-1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058CC8A7-46C8-8815-E451-40A09D43CD22}"/>
              </a:ext>
            </a:extLst>
          </p:cNvPr>
          <p:cNvSpPr txBox="1"/>
          <p:nvPr/>
        </p:nvSpPr>
        <p:spPr>
          <a:xfrm>
            <a:off x="10551584" y="2651455"/>
            <a:ext cx="16935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Hologram</a:t>
            </a:r>
            <a:endParaRPr lang="en-US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094A18F9-15EE-E233-FBEB-AE8B7E515D66}"/>
                  </a:ext>
                </a:extLst>
              </p:cNvPr>
              <p:cNvSpPr txBox="1"/>
              <p:nvPr/>
            </p:nvSpPr>
            <p:spPr>
              <a:xfrm>
                <a:off x="3325456" y="2539772"/>
                <a:ext cx="63292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094A18F9-15EE-E233-FBEB-AE8B7E515D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5456" y="2539772"/>
                <a:ext cx="632929" cy="246221"/>
              </a:xfrm>
              <a:prstGeom prst="rect">
                <a:avLst/>
              </a:prstGeom>
              <a:blipFill>
                <a:blip r:embed="rId13"/>
                <a:stretch>
                  <a:fillRect l="-6796" r="-5825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5" name="TextBox 44">
            <a:extLst>
              <a:ext uri="{FF2B5EF4-FFF2-40B4-BE49-F238E27FC236}">
                <a16:creationId xmlns:a16="http://schemas.microsoft.com/office/drawing/2014/main" id="{5D6D87BF-538E-4870-532A-58A63225D706}"/>
              </a:ext>
            </a:extLst>
          </p:cNvPr>
          <p:cNvSpPr txBox="1"/>
          <p:nvPr/>
        </p:nvSpPr>
        <p:spPr>
          <a:xfrm>
            <a:off x="3221889" y="2300539"/>
            <a:ext cx="14088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(Planar wave)</a:t>
            </a:r>
            <a:endParaRPr lang="en-US" sz="1400" dirty="0"/>
          </a:p>
        </p:txBody>
      </p:sp>
      <p:pic>
        <p:nvPicPr>
          <p:cNvPr id="46" name="Picture 10">
            <a:extLst>
              <a:ext uri="{FF2B5EF4-FFF2-40B4-BE49-F238E27FC236}">
                <a16:creationId xmlns:a16="http://schemas.microsoft.com/office/drawing/2014/main" id="{2F8B6BE0-D5DD-87C2-1477-1D23107AB5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8" t="2200" r="2295" b="2622"/>
          <a:stretch/>
        </p:blipFill>
        <p:spPr bwMode="auto">
          <a:xfrm>
            <a:off x="4984288" y="4322706"/>
            <a:ext cx="1154754" cy="116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9236457-3769-790B-2622-1C52D02711D7}"/>
              </a:ext>
            </a:extLst>
          </p:cNvPr>
          <p:cNvSpPr txBox="1"/>
          <p:nvPr/>
        </p:nvSpPr>
        <p:spPr>
          <a:xfrm>
            <a:off x="4705979" y="5474615"/>
            <a:ext cx="1693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Propagation kernel</a:t>
            </a:r>
            <a:endParaRPr lang="en-US" sz="1200" dirty="0"/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062F554-2B48-52CB-3E1B-FDC5A5BA597C}"/>
              </a:ext>
            </a:extLst>
          </p:cNvPr>
          <p:cNvCxnSpPr>
            <a:cxnSpLocks/>
            <a:stCxn id="46" idx="0"/>
          </p:cNvCxnSpPr>
          <p:nvPr/>
        </p:nvCxnSpPr>
        <p:spPr>
          <a:xfrm flipV="1">
            <a:off x="5561665" y="3504015"/>
            <a:ext cx="674354" cy="818691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49" name="Picture 48" descr="A close-up of a black and white image&#10;&#10;Description automatically generated">
            <a:extLst>
              <a:ext uri="{FF2B5EF4-FFF2-40B4-BE49-F238E27FC236}">
                <a16:creationId xmlns:a16="http://schemas.microsoft.com/office/drawing/2014/main" id="{F040675A-8E1E-F2B4-4C65-14C8BC60D4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786183" y="3001117"/>
            <a:ext cx="1226710" cy="122671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16F1D537-1903-99FD-9557-556C8A1D382F}"/>
              </a:ext>
            </a:extLst>
          </p:cNvPr>
          <p:cNvSpPr txBox="1"/>
          <p:nvPr/>
        </p:nvSpPr>
        <p:spPr>
          <a:xfrm>
            <a:off x="4744672" y="2315488"/>
            <a:ext cx="1703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Near-field Fresnel Propagation</a:t>
            </a:r>
            <a:endParaRPr lang="en-US" sz="14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EE141F6-381F-C84E-53A0-89D5ADA3324F}"/>
              </a:ext>
            </a:extLst>
          </p:cNvPr>
          <p:cNvSpPr txBox="1"/>
          <p:nvPr/>
        </p:nvSpPr>
        <p:spPr>
          <a:xfrm>
            <a:off x="6562527" y="2355105"/>
            <a:ext cx="1703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Intensity image</a:t>
            </a:r>
            <a:endParaRPr lang="en-US" sz="1400" dirty="0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4196E8E7-BDB2-BCF9-BE8A-6A3AC5FEC21F}"/>
              </a:ext>
            </a:extLst>
          </p:cNvPr>
          <p:cNvCxnSpPr>
            <a:cxnSpLocks/>
          </p:cNvCxnSpPr>
          <p:nvPr/>
        </p:nvCxnSpPr>
        <p:spPr>
          <a:xfrm flipV="1">
            <a:off x="10955633" y="3670122"/>
            <a:ext cx="249693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9C949733-2500-4F4E-69B3-DA056AB91A84}"/>
              </a:ext>
            </a:extLst>
          </p:cNvPr>
          <p:cNvSpPr/>
          <p:nvPr/>
        </p:nvSpPr>
        <p:spPr>
          <a:xfrm>
            <a:off x="8383063" y="1745271"/>
            <a:ext cx="1868906" cy="4141269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B3924E3-BC44-FFE0-2C8C-F5A77D03F78B}"/>
              </a:ext>
            </a:extLst>
          </p:cNvPr>
          <p:cNvSpPr txBox="1"/>
          <p:nvPr/>
        </p:nvSpPr>
        <p:spPr>
          <a:xfrm>
            <a:off x="8392984" y="1743389"/>
            <a:ext cx="18689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Noise</a:t>
            </a:r>
            <a:endParaRPr 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EA6D32E2-9B34-EAA5-B88B-2D4EA2A3D9B9}"/>
                  </a:ext>
                </a:extLst>
              </p:cNvPr>
              <p:cNvSpPr txBox="1"/>
              <p:nvPr/>
            </p:nvSpPr>
            <p:spPr>
              <a:xfrm>
                <a:off x="8392984" y="3234689"/>
                <a:ext cx="1878827" cy="2981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e>
                      </m:ra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EA6D32E2-9B34-EAA5-B88B-2D4EA2A3D9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2984" y="3234689"/>
                <a:ext cx="1878827" cy="298159"/>
              </a:xfrm>
              <a:prstGeom prst="rect">
                <a:avLst/>
              </a:prstGeom>
              <a:blipFill>
                <a:blip r:embed="rId16"/>
                <a:stretch>
                  <a:fillRect r="-325" b="-2653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6" name="TextBox 65">
            <a:extLst>
              <a:ext uri="{FF2B5EF4-FFF2-40B4-BE49-F238E27FC236}">
                <a16:creationId xmlns:a16="http://schemas.microsoft.com/office/drawing/2014/main" id="{70028AD2-3581-D2A9-FEFA-23EC53CA378E}"/>
              </a:ext>
            </a:extLst>
          </p:cNvPr>
          <p:cNvSpPr txBox="1"/>
          <p:nvPr/>
        </p:nvSpPr>
        <p:spPr>
          <a:xfrm>
            <a:off x="8468987" y="2353223"/>
            <a:ext cx="1703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Read + Shot noise sources</a:t>
            </a:r>
            <a:endParaRPr lang="en-US" sz="1400" dirty="0"/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5B63EF0-2030-0BB1-CDB0-57DE4121E37B}"/>
              </a:ext>
            </a:extLst>
          </p:cNvPr>
          <p:cNvCxnSpPr>
            <a:cxnSpLocks/>
            <a:stCxn id="6" idx="3"/>
            <a:endCxn id="49" idx="1"/>
          </p:cNvCxnSpPr>
          <p:nvPr/>
        </p:nvCxnSpPr>
        <p:spPr>
          <a:xfrm>
            <a:off x="10448017" y="3603364"/>
            <a:ext cx="338166" cy="111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C9D9AA7D-0D43-128A-7D14-CC5004BB79BE}"/>
                  </a:ext>
                </a:extLst>
              </p:cNvPr>
              <p:cNvSpPr txBox="1"/>
              <p:nvPr/>
            </p:nvSpPr>
            <p:spPr>
              <a:xfrm>
                <a:off x="524024" y="1985081"/>
                <a:ext cx="1992508" cy="314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𝑂𝑏𝑗</m:t>
                          </m:r>
                        </m:sub>
                      </m:sSub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panose="02040503050406030204" pitchFamily="18" charset="0"/>
                        </a:rPr>
                        <m:t>A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m:rPr>
                              <m:sty m:val="p"/>
                            </m:rPr>
                            <a:rPr lang="el-G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Φ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C9D9AA7D-0D43-128A-7D14-CC5004BB79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024" y="1985081"/>
                <a:ext cx="1992508" cy="314573"/>
              </a:xfrm>
              <a:prstGeom prst="rect">
                <a:avLst/>
              </a:prstGeom>
              <a:blipFill>
                <a:blip r:embed="rId17"/>
                <a:stretch>
                  <a:fillRect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C26C310-99A3-1767-F08A-BC4BF5ECCD06}"/>
                  </a:ext>
                </a:extLst>
              </p:cNvPr>
              <p:cNvSpPr txBox="1"/>
              <p:nvPr/>
            </p:nvSpPr>
            <p:spPr>
              <a:xfrm>
                <a:off x="449486" y="6053832"/>
                <a:ext cx="685800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2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ℱ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𝑎𝑛𝑑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de-DE" sz="2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ℱ</m:t>
                        </m:r>
                      </m:e>
                      <m:sup>
                        <m:r>
                          <a:rPr lang="de-DE" sz="2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en-US" sz="2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Fourier</m:t>
                    </m:r>
                    <m: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and</m:t>
                    </m:r>
                    <m: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inverse</m:t>
                    </m:r>
                    <m:r>
                      <a:rPr lang="en-US" sz="180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fourier</m:t>
                    </m:r>
                    <m: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transform</m:t>
                    </m:r>
                    <m:r>
                      <a:rPr lang="en-US" sz="180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; </m:t>
                    </m:r>
                  </m:oMath>
                </a14:m>
                <a:endPara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C26C310-99A3-1767-F08A-BC4BF5ECCD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486" y="6053832"/>
                <a:ext cx="6858000" cy="461665"/>
              </a:xfrm>
              <a:prstGeom prst="rect">
                <a:avLst/>
              </a:prstGeom>
              <a:blipFill>
                <a:blip r:embed="rId18"/>
                <a:stretch>
                  <a:fillRect l="-2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8" name="Picture 27" descr="A math equation with a square root&#10;&#10;Description automatically generated with medium confidence">
            <a:extLst>
              <a:ext uri="{FF2B5EF4-FFF2-40B4-BE49-F238E27FC236}">
                <a16:creationId xmlns:a16="http://schemas.microsoft.com/office/drawing/2014/main" id="{6C5B6898-9B45-55EF-E301-E3E0321F16F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874" y="6050584"/>
            <a:ext cx="2652363" cy="4420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E195DE7-A12D-AEB6-7B18-2C146DB62D4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833226" y="156946"/>
            <a:ext cx="5271719" cy="49047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F0A6001-0DE6-2480-AE83-3AECC70736F9}"/>
                  </a:ext>
                </a:extLst>
              </p:cNvPr>
              <p:cNvSpPr txBox="1"/>
              <p:nvPr/>
            </p:nvSpPr>
            <p:spPr>
              <a:xfrm>
                <a:off x="8471166" y="4089556"/>
                <a:ext cx="1878827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𝜎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de-DE" sz="1600" i="1" dirty="0">
                    <a:latin typeface="Cambria Math" panose="02040503050406030204" pitchFamily="18" charset="0"/>
                  </a:rPr>
                  <a:t> overall  noise std.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F0A6001-0DE6-2480-AE83-3AECC70736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1166" y="4089556"/>
                <a:ext cx="1878827" cy="246221"/>
              </a:xfrm>
              <a:prstGeom prst="rect">
                <a:avLst/>
              </a:prstGeom>
              <a:blipFill>
                <a:blip r:embed="rId21"/>
                <a:stretch>
                  <a:fillRect l="-2922" t="-30000" b="-4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8189C70-CC7D-7E34-DA7E-4F2DA6F56EA8}"/>
                  </a:ext>
                </a:extLst>
              </p:cNvPr>
              <p:cNvSpPr txBox="1"/>
              <p:nvPr/>
            </p:nvSpPr>
            <p:spPr>
              <a:xfrm>
                <a:off x="8468987" y="4393970"/>
                <a:ext cx="1878827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de-DE" sz="1600" i="1" dirty="0">
                    <a:latin typeface="Cambria Math" panose="02040503050406030204" pitchFamily="18" charset="0"/>
                  </a:rPr>
                  <a:t> Shot noise varianc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8189C70-CC7D-7E34-DA7E-4F2DA6F56E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8987" y="4393970"/>
                <a:ext cx="1878827" cy="492443"/>
              </a:xfrm>
              <a:prstGeom prst="rect">
                <a:avLst/>
              </a:prstGeom>
              <a:blipFill>
                <a:blip r:embed="rId22"/>
                <a:stretch>
                  <a:fillRect l="-6494" t="-14815" b="-22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4582232-0FAD-BC1C-86D5-2E9809F9AFB5}"/>
                  </a:ext>
                </a:extLst>
              </p:cNvPr>
              <p:cNvSpPr txBox="1"/>
              <p:nvPr/>
            </p:nvSpPr>
            <p:spPr>
              <a:xfrm>
                <a:off x="8468987" y="4946776"/>
                <a:ext cx="1878827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de-DE" sz="1600" i="1" dirty="0">
                    <a:latin typeface="Cambria Math" panose="02040503050406030204" pitchFamily="18" charset="0"/>
                  </a:rPr>
                  <a:t> Read noise variance.</a:t>
                </a: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4582232-0FAD-BC1C-86D5-2E9809F9A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8987" y="4946776"/>
                <a:ext cx="1878827" cy="492443"/>
              </a:xfrm>
              <a:prstGeom prst="rect">
                <a:avLst/>
              </a:prstGeom>
              <a:blipFill>
                <a:blip r:embed="rId23"/>
                <a:stretch>
                  <a:fillRect l="-6494" t="-13580" b="-234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89397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2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3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7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8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9" grpId="0" animBg="1"/>
      <p:bldP spid="21" grpId="0" animBg="1"/>
      <p:bldP spid="6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3169137" cy="430759"/>
          </a:xfrm>
        </p:spPr>
        <p:txBody>
          <a:bodyPr/>
          <a:lstStyle/>
          <a:p>
            <a:r>
              <a:rPr lang="en-US" dirty="0"/>
              <a:t>Dataset Statist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BE65D0-1984-0F01-90A4-80585E11B0E4}"/>
              </a:ext>
            </a:extLst>
          </p:cNvPr>
          <p:cNvSpPr txBox="1"/>
          <p:nvPr/>
        </p:nvSpPr>
        <p:spPr>
          <a:xfrm>
            <a:off x="122511" y="5328916"/>
            <a:ext cx="116652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1088780">
              <a:buFont typeface="Wingdings" panose="05000000000000000000" pitchFamily="2" charset="2"/>
              <a:buChar char="ü"/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etwork takes as input a hologram captured at an unknown object-detector distance z and is then tasked to reconstruct both phase and amplitude distributions of the latent complex transmission field and to estimate the distance z at which the hologram was recorded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4" name="Table 14">
                <a:extLst>
                  <a:ext uri="{FF2B5EF4-FFF2-40B4-BE49-F238E27FC236}">
                    <a16:creationId xmlns:a16="http://schemas.microsoft.com/office/drawing/2014/main" id="{D167C1DF-8B79-EDD0-FE3F-4094153594D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85390698"/>
                  </p:ext>
                </p:extLst>
              </p:nvPr>
            </p:nvGraphicFramePr>
            <p:xfrm>
              <a:off x="540647" y="1074998"/>
              <a:ext cx="8475440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18860">
                      <a:extLst>
                        <a:ext uri="{9D8B030D-6E8A-4147-A177-3AD203B41FA5}">
                          <a16:colId xmlns:a16="http://schemas.microsoft.com/office/drawing/2014/main" val="996935595"/>
                        </a:ext>
                      </a:extLst>
                    </a:gridCol>
                    <a:gridCol w="2118860">
                      <a:extLst>
                        <a:ext uri="{9D8B030D-6E8A-4147-A177-3AD203B41FA5}">
                          <a16:colId xmlns:a16="http://schemas.microsoft.com/office/drawing/2014/main" val="2059543715"/>
                        </a:ext>
                      </a:extLst>
                    </a:gridCol>
                    <a:gridCol w="2118860">
                      <a:extLst>
                        <a:ext uri="{9D8B030D-6E8A-4147-A177-3AD203B41FA5}">
                          <a16:colId xmlns:a16="http://schemas.microsoft.com/office/drawing/2014/main" val="413755501"/>
                        </a:ext>
                      </a:extLst>
                    </a:gridCol>
                    <a:gridCol w="2118860">
                      <a:extLst>
                        <a:ext uri="{9D8B030D-6E8A-4147-A177-3AD203B41FA5}">
                          <a16:colId xmlns:a16="http://schemas.microsoft.com/office/drawing/2014/main" val="1806506939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Image size 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128×12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Distance z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300, 400, 500, 600 700 </a:t>
                          </a:r>
                          <a14:m>
                            <m:oMath xmlns:m="http://schemas.openxmlformats.org/officeDocument/2006/math">
                              <m:r>
                                <a:rPr kumimoji="1" lang="en-US" sz="1400" i="1" kern="120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𝜇</m:t>
                              </m:r>
                            </m:oMath>
                          </a14:m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m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59861778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Pixel size 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4.48um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Train set siz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5000×5 pair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0567361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Wavelength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430nm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Test set siz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1000×5 pair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69522561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4" name="Table 14">
                <a:extLst>
                  <a:ext uri="{FF2B5EF4-FFF2-40B4-BE49-F238E27FC236}">
                    <a16:creationId xmlns:a16="http://schemas.microsoft.com/office/drawing/2014/main" id="{D167C1DF-8B79-EDD0-FE3F-4094153594D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85390698"/>
                  </p:ext>
                </p:extLst>
              </p:nvPr>
            </p:nvGraphicFramePr>
            <p:xfrm>
              <a:off x="540647" y="1074998"/>
              <a:ext cx="8475440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18860">
                      <a:extLst>
                        <a:ext uri="{9D8B030D-6E8A-4147-A177-3AD203B41FA5}">
                          <a16:colId xmlns:a16="http://schemas.microsoft.com/office/drawing/2014/main" val="996935595"/>
                        </a:ext>
                      </a:extLst>
                    </a:gridCol>
                    <a:gridCol w="2118860">
                      <a:extLst>
                        <a:ext uri="{9D8B030D-6E8A-4147-A177-3AD203B41FA5}">
                          <a16:colId xmlns:a16="http://schemas.microsoft.com/office/drawing/2014/main" val="2059543715"/>
                        </a:ext>
                      </a:extLst>
                    </a:gridCol>
                    <a:gridCol w="2118860">
                      <a:extLst>
                        <a:ext uri="{9D8B030D-6E8A-4147-A177-3AD203B41FA5}">
                          <a16:colId xmlns:a16="http://schemas.microsoft.com/office/drawing/2014/main" val="413755501"/>
                        </a:ext>
                      </a:extLst>
                    </a:gridCol>
                    <a:gridCol w="2118860">
                      <a:extLst>
                        <a:ext uri="{9D8B030D-6E8A-4147-A177-3AD203B41FA5}">
                          <a16:colId xmlns:a16="http://schemas.microsoft.com/office/drawing/2014/main" val="1806506939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Image size 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128×12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Distance z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"/>
                          <a:stretch>
                            <a:fillRect l="-300287" t="-3279" r="-575" b="-203279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9861778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Pixel size 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4.48um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Train set siz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5000×5 pair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0567361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Wavelength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430nm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b="1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Test set siz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kumimoji="1" lang="en-US" sz="1400" kern="1200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ＭＳ Ｐゴシック" charset="-128"/>
                              <a:cs typeface="Times New Roman" panose="02020603050405020304" pitchFamily="18" charset="0"/>
                            </a:rPr>
                            <a:t>1000×5 pair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695225617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16" name="Picture 15" descr="A close-up of a black and white image&#10;&#10;Description automatically generated">
            <a:extLst>
              <a:ext uri="{FF2B5EF4-FFF2-40B4-BE49-F238E27FC236}">
                <a16:creationId xmlns:a16="http://schemas.microsoft.com/office/drawing/2014/main" id="{8C7DCB92-1A2F-DBE4-CDE8-21AE38F282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353" y="2821670"/>
            <a:ext cx="9604446" cy="1965777"/>
          </a:xfrm>
          <a:prstGeom prst="rect">
            <a:avLst/>
          </a:prstGeom>
        </p:spPr>
      </p:pic>
      <p:pic>
        <p:nvPicPr>
          <p:cNvPr id="17" name="Picture 16" descr="A close-up of a microscope&#10;&#10;Description automatically generated">
            <a:extLst>
              <a:ext uri="{FF2B5EF4-FFF2-40B4-BE49-F238E27FC236}">
                <a16:creationId xmlns:a16="http://schemas.microsoft.com/office/drawing/2014/main" id="{DF240297-8E6A-1DED-0910-2B17BC11A2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607" y="770339"/>
            <a:ext cx="2005935" cy="409275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1BD0E14-4D42-0726-63EC-3FCDB332D07A}"/>
              </a:ext>
            </a:extLst>
          </p:cNvPr>
          <p:cNvSpPr txBox="1"/>
          <p:nvPr/>
        </p:nvSpPr>
        <p:spPr>
          <a:xfrm>
            <a:off x="4767027" y="4863094"/>
            <a:ext cx="26642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enerated samp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E60505-835F-CEEC-F9B0-32BD27824F75}"/>
              </a:ext>
            </a:extLst>
          </p:cNvPr>
          <p:cNvSpPr txBox="1"/>
          <p:nvPr/>
        </p:nvSpPr>
        <p:spPr>
          <a:xfrm>
            <a:off x="2916911" y="2201334"/>
            <a:ext cx="38884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rameters for data set simulatio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2B41597E-94BC-02EB-CC3E-B524E72481F5}"/>
                  </a:ext>
                </a:extLst>
              </p:cNvPr>
              <p:cNvSpPr/>
              <p:nvPr/>
            </p:nvSpPr>
            <p:spPr>
              <a:xfrm>
                <a:off x="9987607" y="770339"/>
                <a:ext cx="1872208" cy="23552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kumimoji="1" lang="en-US" sz="2000" dirty="0">
                    <a:solidFill>
                      <a:schemeClr val="tx1"/>
                    </a:solidFill>
                  </a:rPr>
                  <a:t>Ground truth </a:t>
                </a:r>
                <a14:m>
                  <m:oMath xmlns:m="http://schemas.openxmlformats.org/officeDocument/2006/math">
                    <m:r>
                      <a:rPr kumimoji="1"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endParaRPr kumimoji="1" 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2B41597E-94BC-02EB-CC3E-B524E72481F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87607" y="770339"/>
                <a:ext cx="1872208" cy="235525"/>
              </a:xfrm>
              <a:prstGeom prst="rect">
                <a:avLst/>
              </a:prstGeom>
              <a:blipFill>
                <a:blip r:embed="rId5"/>
                <a:stretch>
                  <a:fillRect l="-2273" t="-43590" b="-8205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51DC4079-1DCD-6A55-FB67-9322A7AA695B}"/>
                  </a:ext>
                </a:extLst>
              </p:cNvPr>
              <p:cNvSpPr/>
              <p:nvPr/>
            </p:nvSpPr>
            <p:spPr>
              <a:xfrm>
                <a:off x="10030389" y="2799399"/>
                <a:ext cx="1939072" cy="23552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kumimoji="1" lang="en-US" sz="2000" dirty="0">
                    <a:solidFill>
                      <a:schemeClr val="tx1"/>
                    </a:solidFill>
                  </a:rPr>
                  <a:t>Ground truth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1" lang="el-GR" sz="20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Φ</m:t>
                    </m:r>
                  </m:oMath>
                </a14:m>
                <a:endParaRPr kumimoji="1" 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51DC4079-1DCD-6A55-FB67-9322A7AA695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30389" y="2799399"/>
                <a:ext cx="1939072" cy="235525"/>
              </a:xfrm>
              <a:prstGeom prst="rect">
                <a:avLst/>
              </a:prstGeom>
              <a:blipFill>
                <a:blip r:embed="rId6"/>
                <a:stretch>
                  <a:fillRect l="-1572" t="-43590" b="-8205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>
            <a:extLst>
              <a:ext uri="{FF2B5EF4-FFF2-40B4-BE49-F238E27FC236}">
                <a16:creationId xmlns:a16="http://schemas.microsoft.com/office/drawing/2014/main" id="{3B22D86E-338C-7EF4-FD62-F32554CB1D9F}"/>
              </a:ext>
            </a:extLst>
          </p:cNvPr>
          <p:cNvSpPr/>
          <p:nvPr/>
        </p:nvSpPr>
        <p:spPr>
          <a:xfrm rot="16200000">
            <a:off x="-695829" y="3733580"/>
            <a:ext cx="1872208" cy="235525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kumimoji="1" lang="en-US" sz="2000" dirty="0">
                <a:solidFill>
                  <a:schemeClr val="tx1"/>
                </a:solidFill>
              </a:rPr>
              <a:t>Holograms</a:t>
            </a:r>
          </a:p>
        </p:txBody>
      </p:sp>
    </p:spTree>
    <p:extLst>
      <p:ext uri="{BB962C8B-B14F-4D97-AF65-F5344CB8AC3E}">
        <p14:creationId xmlns:p14="http://schemas.microsoft.com/office/powerpoint/2010/main" val="2115108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Methodology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944693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2551" y="188640"/>
            <a:ext cx="5507918" cy="430759"/>
          </a:xfrm>
        </p:spPr>
        <p:txBody>
          <a:bodyPr/>
          <a:lstStyle/>
          <a:p>
            <a:r>
              <a:rPr lang="en-US" dirty="0"/>
              <a:t>Propose Approach “Cross-Net”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377A111C-C0B9-2428-9444-9306994CD6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03" y="1052736"/>
            <a:ext cx="7691409" cy="380526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E877924-2589-7E34-4545-BBB3B2DDBE39}"/>
              </a:ext>
            </a:extLst>
          </p:cNvPr>
          <p:cNvSpPr txBox="1"/>
          <p:nvPr/>
        </p:nvSpPr>
        <p:spPr>
          <a:xfrm>
            <a:off x="1202631" y="4903577"/>
            <a:ext cx="56886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tailed architecture of reconstruction branch in Cross-Ne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67CA5C3-9253-2247-261D-036E6E29BD24}"/>
                  </a:ext>
                </a:extLst>
              </p:cNvPr>
              <p:cNvSpPr txBox="1"/>
              <p:nvPr/>
            </p:nvSpPr>
            <p:spPr>
              <a:xfrm>
                <a:off x="7899375" y="836712"/>
                <a:ext cx="4298975" cy="403187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de-DE" sz="140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𝑆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</a:p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roups=input channels=output channels </a:t>
                </a:r>
              </a:p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rge kernel size, e.g., 17 for an image size of 128×128 pixels</a:t>
                </a:r>
              </a:p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en-US" sz="140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</a:p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roups = kernel size = 1</a:t>
                </a: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↑</m:t>
                    </m:r>
                    <m:r>
                      <a:rPr lang="de-DE" sz="140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𝐶</m:t>
                    </m:r>
                    <m:r>
                      <a:rPr lang="de-DE" sz="140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imilar 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en-US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</m:t>
                        </m:r>
                      </m:sub>
                    </m:sSub>
                  </m:oMath>
                </a14:m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except the output channels of the</a:t>
                </a: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cond Conv may be different.</a:t>
                </a: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endParaRPr lang="de-DE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 xmlns:m="http://schemas.openxmlformats.org/officeDocument/2006/math">
                    <m:r>
                      <a:rPr lang="de-DE" sz="140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↓</m:t>
                    </m:r>
                    <m:r>
                      <a:rPr lang="de-DE" sz="140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𝑆</m:t>
                    </m:r>
                  </m:oMath>
                </a14:m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imple Maxpool2d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67CA5C3-9253-2247-261D-036E6E29BD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99375" y="836712"/>
                <a:ext cx="4298975" cy="4031873"/>
              </a:xfrm>
              <a:prstGeom prst="rect">
                <a:avLst/>
              </a:prstGeom>
              <a:blipFill>
                <a:blip r:embed="rId4"/>
                <a:stretch>
                  <a:fillRect l="-426" t="-151" b="-6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134417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5507918" cy="430759"/>
          </a:xfrm>
        </p:spPr>
        <p:txBody>
          <a:bodyPr/>
          <a:lstStyle/>
          <a:p>
            <a:r>
              <a:rPr lang="en-US" dirty="0"/>
              <a:t>Propose Approach “Cross-Net”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13C4661-DA92-BE99-7F15-8919474E4E63}"/>
                  </a:ext>
                </a:extLst>
              </p:cNvPr>
              <p:cNvSpPr txBox="1"/>
              <p:nvPr/>
            </p:nvSpPr>
            <p:spPr>
              <a:xfrm>
                <a:off x="0" y="5181452"/>
                <a:ext cx="5708762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a): The basic concept compare of Vision Transformer (</a:t>
                </a:r>
                <a:r>
                  <a:rPr lang="en-US" sz="12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iT</a:t>
                </a:r>
                <a:r>
                  <a:rPr 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  <a:p>
                <a:r>
                  <a:rPr 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Cross-Net. (b): The convolution block used to achieve </a:t>
                </a:r>
                <a14:m>
                  <m:oMath xmlns:m="http://schemas.openxmlformats.org/officeDocument/2006/math">
                    <m:r>
                      <a:rPr lang="en-US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↑</m:t>
                    </m:r>
                    <m:r>
                      <a:rPr lang="de-DE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</m:oMath>
                </a14:m>
                <a:r>
                  <a:rPr 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units shown in (a).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13C4661-DA92-BE99-7F15-8919474E4E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5181452"/>
                <a:ext cx="5708762" cy="646331"/>
              </a:xfrm>
              <a:prstGeom prst="rect">
                <a:avLst/>
              </a:prstGeom>
              <a:blipFill>
                <a:blip r:embed="rId4"/>
                <a:stretch>
                  <a:fillRect t="-943" b="-66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D9E8C3C6-AA6B-CE62-45E8-F117DE5FBF0E}"/>
              </a:ext>
            </a:extLst>
          </p:cNvPr>
          <p:cNvSpPr txBox="1"/>
          <p:nvPr/>
        </p:nvSpPr>
        <p:spPr>
          <a:xfrm>
            <a:off x="2252105" y="3840093"/>
            <a:ext cx="4568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 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831ABC-F576-0182-6EF5-D45CC3603990}"/>
              </a:ext>
            </a:extLst>
          </p:cNvPr>
          <p:cNvSpPr txBox="1"/>
          <p:nvPr/>
        </p:nvSpPr>
        <p:spPr>
          <a:xfrm>
            <a:off x="2252105" y="4762615"/>
            <a:ext cx="44095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6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ED497B-94A7-0A03-66EA-E01A54515469}"/>
              </a:ext>
            </a:extLst>
          </p:cNvPr>
          <p:cNvSpPr/>
          <p:nvPr/>
        </p:nvSpPr>
        <p:spPr>
          <a:xfrm>
            <a:off x="5887444" y="1402686"/>
            <a:ext cx="914400" cy="914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6" name="Cube 15">
            <a:extLst>
              <a:ext uri="{FF2B5EF4-FFF2-40B4-BE49-F238E27FC236}">
                <a16:creationId xmlns:a16="http://schemas.microsoft.com/office/drawing/2014/main" id="{1F02FDEB-1E6F-5E60-40F7-A6FBA5107806}"/>
              </a:ext>
            </a:extLst>
          </p:cNvPr>
          <p:cNvSpPr/>
          <p:nvPr/>
        </p:nvSpPr>
        <p:spPr>
          <a:xfrm>
            <a:off x="9148838" y="1656099"/>
            <a:ext cx="2843926" cy="316635"/>
          </a:xfrm>
          <a:prstGeom prst="cube">
            <a:avLst/>
          </a:prstGeom>
          <a:solidFill>
            <a:srgbClr val="00B0F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FA67831-6902-3A62-B1CF-00255D802159}"/>
              </a:ext>
            </a:extLst>
          </p:cNvPr>
          <p:cNvCxnSpPr>
            <a:cxnSpLocks/>
            <a:stCxn id="13" idx="3"/>
            <a:endCxn id="16" idx="2"/>
          </p:cNvCxnSpPr>
          <p:nvPr/>
        </p:nvCxnSpPr>
        <p:spPr>
          <a:xfrm flipV="1">
            <a:off x="6801844" y="1853996"/>
            <a:ext cx="2346994" cy="58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B903D06-6EA8-B5F1-7F4B-5CD5EAFFBB9E}"/>
              </a:ext>
            </a:extLst>
          </p:cNvPr>
          <p:cNvSpPr txBox="1"/>
          <p:nvPr/>
        </p:nvSpPr>
        <p:spPr>
          <a:xfrm>
            <a:off x="5694119" y="1121065"/>
            <a:ext cx="1245985" cy="24797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[1,128,128]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2B67018-B028-6091-87EC-A4A0D0CCBB7B}"/>
              </a:ext>
            </a:extLst>
          </p:cNvPr>
          <p:cNvSpPr txBox="1"/>
          <p:nvPr/>
        </p:nvSpPr>
        <p:spPr>
          <a:xfrm>
            <a:off x="9955835" y="1327442"/>
            <a:ext cx="1296144" cy="24797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[768,8,8]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13E4B66-CFD3-4C0F-D164-783A8193FDA6}"/>
              </a:ext>
            </a:extLst>
          </p:cNvPr>
          <p:cNvSpPr txBox="1"/>
          <p:nvPr/>
        </p:nvSpPr>
        <p:spPr>
          <a:xfrm>
            <a:off x="6940104" y="1396534"/>
            <a:ext cx="236216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Patch embedding</a:t>
            </a:r>
          </a:p>
          <a:p>
            <a:r>
              <a:rPr lang="en-US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onv2d with stride = kernel size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F81397-6667-2030-996F-22BE5D0AE1CB}"/>
              </a:ext>
            </a:extLst>
          </p:cNvPr>
          <p:cNvSpPr txBox="1"/>
          <p:nvPr/>
        </p:nvSpPr>
        <p:spPr>
          <a:xfrm>
            <a:off x="5646088" y="3010170"/>
            <a:ext cx="59766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on loss, c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sistent global features are cut, fine features are compressed</a:t>
            </a:r>
            <a:endParaRPr lang="en-US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2B1ABFE-A7FC-B4FF-908E-C612CBAD173F}"/>
              </a:ext>
            </a:extLst>
          </p:cNvPr>
          <p:cNvSpPr txBox="1"/>
          <p:nvPr/>
        </p:nvSpPr>
        <p:spPr>
          <a:xfrm>
            <a:off x="5894582" y="3727288"/>
            <a:ext cx="54796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compose patch embedding, access to medium latent vectors.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400F9D3-4E96-E586-562B-69105C365EBC}"/>
              </a:ext>
            </a:extLst>
          </p:cNvPr>
          <p:cNvCxnSpPr>
            <a:cxnSpLocks/>
            <a:stCxn id="27" idx="2"/>
            <a:endCxn id="29" idx="0"/>
          </p:cNvCxnSpPr>
          <p:nvPr/>
        </p:nvCxnSpPr>
        <p:spPr>
          <a:xfrm>
            <a:off x="8634420" y="3317947"/>
            <a:ext cx="0" cy="4093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876EFCF-D535-6EE9-DCDC-18240CB793F7}"/>
              </a:ext>
            </a:extLst>
          </p:cNvPr>
          <p:cNvSpPr txBox="1"/>
          <p:nvPr/>
        </p:nvSpPr>
        <p:spPr>
          <a:xfrm>
            <a:off x="5698129" y="4456556"/>
            <a:ext cx="597666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Quadratic runtime with respect to image size, not suitable for medium vectors.</a:t>
            </a:r>
          </a:p>
          <a:p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-fit and high resource consumption caused by big module size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DD827B4-8593-FB1E-5017-B2FDF78C892A}"/>
              </a:ext>
            </a:extLst>
          </p:cNvPr>
          <p:cNvSpPr txBox="1"/>
          <p:nvPr/>
        </p:nvSpPr>
        <p:spPr>
          <a:xfrm>
            <a:off x="5887444" y="5736935"/>
            <a:ext cx="54796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special convolution blocks as inter-spatial processing units.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FD999541-940A-EA6F-6D23-A764F0F6B861}"/>
              </a:ext>
            </a:extLst>
          </p:cNvPr>
          <p:cNvCxnSpPr>
            <a:cxnSpLocks/>
          </p:cNvCxnSpPr>
          <p:nvPr/>
        </p:nvCxnSpPr>
        <p:spPr>
          <a:xfrm>
            <a:off x="8635704" y="5327594"/>
            <a:ext cx="0" cy="4093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15FC2A84-5A27-4B36-3CF7-C843FB8C0B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470" y="1353382"/>
            <a:ext cx="5022525" cy="253144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DE8A85E-AF2B-5F9E-13BD-31BFDB3615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097" y="4294223"/>
            <a:ext cx="4742691" cy="41191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B8727DE-515B-C05C-F948-517EBFF258E8}"/>
              </a:ext>
            </a:extLst>
          </p:cNvPr>
          <p:cNvSpPr txBox="1"/>
          <p:nvPr/>
        </p:nvSpPr>
        <p:spPr>
          <a:xfrm>
            <a:off x="9422827" y="1966136"/>
            <a:ext cx="236216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ature vecto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B876D2F-6EEC-1EEE-D992-3405CC7B5F64}"/>
              </a:ext>
            </a:extLst>
          </p:cNvPr>
          <p:cNvSpPr txBox="1"/>
          <p:nvPr/>
        </p:nvSpPr>
        <p:spPr>
          <a:xfrm>
            <a:off x="5163564" y="2336514"/>
            <a:ext cx="236216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</a:p>
        </p:txBody>
      </p:sp>
    </p:spTree>
    <p:extLst>
      <p:ext uri="{BB962C8B-B14F-4D97-AF65-F5344CB8AC3E}">
        <p14:creationId xmlns:p14="http://schemas.microsoft.com/office/powerpoint/2010/main" val="81464512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EFA6B-1E87-D2E3-67F1-55C72A705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559" y="404664"/>
            <a:ext cx="3617978" cy="430759"/>
          </a:xfrm>
        </p:spPr>
        <p:txBody>
          <a:bodyPr/>
          <a:lstStyle/>
          <a:p>
            <a:r>
              <a:rPr lang="en-US" dirty="0"/>
              <a:t>Overall Archite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173843-FF3A-B20D-1522-CD46132B0D7E}"/>
              </a:ext>
            </a:extLst>
          </p:cNvPr>
          <p:cNvSpPr txBox="1"/>
          <p:nvPr/>
        </p:nvSpPr>
        <p:spPr>
          <a:xfrm>
            <a:off x="2426767" y="5280373"/>
            <a:ext cx="761465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wo branches have similar architecture. </a:t>
            </a:r>
          </a:p>
          <a:p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coder of regression branch: average pool and linear mapping.</a:t>
            </a:r>
          </a:p>
          <a:p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coder of reconstruction branch: linear mapping and reshape . </a:t>
            </a:r>
          </a:p>
          <a:p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E63CEC-2FAA-A29E-86B8-35A867BCDA28}"/>
              </a:ext>
            </a:extLst>
          </p:cNvPr>
          <p:cNvSpPr/>
          <p:nvPr/>
        </p:nvSpPr>
        <p:spPr>
          <a:xfrm>
            <a:off x="2138735" y="2178170"/>
            <a:ext cx="1520379" cy="91791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5AECAC-16BA-4E3E-0813-F9B933598293}"/>
              </a:ext>
            </a:extLst>
          </p:cNvPr>
          <p:cNvSpPr/>
          <p:nvPr/>
        </p:nvSpPr>
        <p:spPr>
          <a:xfrm>
            <a:off x="4289682" y="2978178"/>
            <a:ext cx="1872208" cy="43075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BE70E6-B1B5-2868-9E84-49E3AC835EE1}"/>
              </a:ext>
            </a:extLst>
          </p:cNvPr>
          <p:cNvSpPr/>
          <p:nvPr/>
        </p:nvSpPr>
        <p:spPr>
          <a:xfrm>
            <a:off x="6747247" y="1763021"/>
            <a:ext cx="2808312" cy="43075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015E7E-F347-A5D7-6CC3-6F35F06CED51}"/>
              </a:ext>
            </a:extLst>
          </p:cNvPr>
          <p:cNvSpPr/>
          <p:nvPr/>
        </p:nvSpPr>
        <p:spPr>
          <a:xfrm>
            <a:off x="4298974" y="1757438"/>
            <a:ext cx="1872209" cy="43075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A1DC072-5545-71B9-D004-F53FF24101A7}"/>
              </a:ext>
            </a:extLst>
          </p:cNvPr>
          <p:cNvSpPr/>
          <p:nvPr/>
        </p:nvSpPr>
        <p:spPr>
          <a:xfrm>
            <a:off x="6747247" y="2985332"/>
            <a:ext cx="2808312" cy="43075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CC87BC-8376-957E-101F-1976343725A4}"/>
              </a:ext>
            </a:extLst>
          </p:cNvPr>
          <p:cNvSpPr txBox="1"/>
          <p:nvPr/>
        </p:nvSpPr>
        <p:spPr>
          <a:xfrm>
            <a:off x="2340093" y="2270681"/>
            <a:ext cx="1184235" cy="72389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Hologram of the   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same object with 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different z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E388D6-460E-4117-608B-D04B02BA106E}"/>
              </a:ext>
            </a:extLst>
          </p:cNvPr>
          <p:cNvSpPr txBox="1"/>
          <p:nvPr/>
        </p:nvSpPr>
        <p:spPr>
          <a:xfrm>
            <a:off x="4514999" y="1854160"/>
            <a:ext cx="1584176" cy="23421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Reconstruction bran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C694623-6B75-A544-D7BE-1C21C850328E}"/>
              </a:ext>
            </a:extLst>
          </p:cNvPr>
          <p:cNvSpPr txBox="1"/>
          <p:nvPr/>
        </p:nvSpPr>
        <p:spPr>
          <a:xfrm>
            <a:off x="4619562" y="3096085"/>
            <a:ext cx="914400" cy="17352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Regression branc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DB4AB18-8635-7669-00B8-055FE60F6013}"/>
              </a:ext>
            </a:extLst>
          </p:cNvPr>
          <p:cNvSpPr txBox="1"/>
          <p:nvPr/>
        </p:nvSpPr>
        <p:spPr>
          <a:xfrm>
            <a:off x="6963271" y="1845914"/>
            <a:ext cx="2448272" cy="19432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Same transmission reconstruc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355FFA-6A80-5C82-F521-D74EC6A89CA8}"/>
              </a:ext>
            </a:extLst>
          </p:cNvPr>
          <p:cNvSpPr txBox="1"/>
          <p:nvPr/>
        </p:nvSpPr>
        <p:spPr>
          <a:xfrm>
            <a:off x="7179295" y="3096085"/>
            <a:ext cx="3384376" cy="24448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200" dirty="0"/>
              <a:t>Different distance estimate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1819285-1981-3AD9-4E4F-329198C2BB29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 flipV="1">
            <a:off x="3659114" y="1972818"/>
            <a:ext cx="639860" cy="66431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7310C734-1BAE-D0DA-04E8-E2703808A69C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3659114" y="2637128"/>
            <a:ext cx="630568" cy="55643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EA43DBE-CFC5-88CD-0D05-0CC4A8D2A237}"/>
              </a:ext>
            </a:extLst>
          </p:cNvPr>
          <p:cNvCxnSpPr>
            <a:cxnSpLocks/>
            <a:stCxn id="11" idx="3"/>
            <a:endCxn id="10" idx="1"/>
          </p:cNvCxnSpPr>
          <p:nvPr/>
        </p:nvCxnSpPr>
        <p:spPr>
          <a:xfrm>
            <a:off x="6171183" y="1972818"/>
            <a:ext cx="576064" cy="55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DBEC3A3-5719-FF32-03C3-2706968A3F4A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>
            <a:off x="6161890" y="3193558"/>
            <a:ext cx="585357" cy="715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25CDA7A-2793-004C-25C1-402662127EB8}"/>
              </a:ext>
            </a:extLst>
          </p:cNvPr>
          <p:cNvSpPr/>
          <p:nvPr/>
        </p:nvSpPr>
        <p:spPr>
          <a:xfrm>
            <a:off x="1786905" y="1394841"/>
            <a:ext cx="2006931" cy="2448272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B5DE0CD-C77B-FDA7-D35C-0F5E12EEF66E}"/>
              </a:ext>
            </a:extLst>
          </p:cNvPr>
          <p:cNvSpPr/>
          <p:nvPr/>
        </p:nvSpPr>
        <p:spPr>
          <a:xfrm>
            <a:off x="4173545" y="1408490"/>
            <a:ext cx="2150947" cy="244827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6CF89D6-D7B4-D3EC-FB8C-8D9B502B56DA}"/>
              </a:ext>
            </a:extLst>
          </p:cNvPr>
          <p:cNvSpPr/>
          <p:nvPr/>
        </p:nvSpPr>
        <p:spPr>
          <a:xfrm>
            <a:off x="6603231" y="1402030"/>
            <a:ext cx="3168352" cy="2448272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1F7D9A1-626E-2F70-29EF-E1ED27033119}"/>
              </a:ext>
            </a:extLst>
          </p:cNvPr>
          <p:cNvSpPr txBox="1"/>
          <p:nvPr/>
        </p:nvSpPr>
        <p:spPr>
          <a:xfrm>
            <a:off x="2313505" y="4133361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Inpu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D9E6BB5-8429-347F-3D16-5A15D2D6DB83}"/>
              </a:ext>
            </a:extLst>
          </p:cNvPr>
          <p:cNvSpPr txBox="1"/>
          <p:nvPr/>
        </p:nvSpPr>
        <p:spPr>
          <a:xfrm>
            <a:off x="4718603" y="4133361"/>
            <a:ext cx="136815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Cross-Ne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2AEC32-A53D-357D-ACEA-4744CB21BB38}"/>
              </a:ext>
            </a:extLst>
          </p:cNvPr>
          <p:cNvSpPr txBox="1"/>
          <p:nvPr/>
        </p:nvSpPr>
        <p:spPr>
          <a:xfrm>
            <a:off x="7730207" y="4071089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Outpu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1D82AFD-EBAE-A809-DD29-D18EA717C478}"/>
              </a:ext>
            </a:extLst>
          </p:cNvPr>
          <p:cNvSpPr txBox="1"/>
          <p:nvPr/>
        </p:nvSpPr>
        <p:spPr>
          <a:xfrm>
            <a:off x="3388720" y="4514641"/>
            <a:ext cx="88096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ematic of Cross-Net’s two-branch architecture</a:t>
            </a:r>
          </a:p>
        </p:txBody>
      </p:sp>
    </p:spTree>
    <p:extLst>
      <p:ext uri="{BB962C8B-B14F-4D97-AF65-F5344CB8AC3E}">
        <p14:creationId xmlns:p14="http://schemas.microsoft.com/office/powerpoint/2010/main" val="105465797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EFA6B-1E87-D2E3-67F1-55C72A705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300" y="405737"/>
            <a:ext cx="9261318" cy="430887"/>
          </a:xfrm>
        </p:spPr>
        <p:txBody>
          <a:bodyPr/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on of </a:t>
            </a:r>
            <a:r>
              <a:rPr lang="en-US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T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Cross-Net used for later experiment.</a:t>
            </a:r>
          </a:p>
        </p:txBody>
      </p:sp>
      <p:graphicFrame>
        <p:nvGraphicFramePr>
          <p:cNvPr id="41" name="Table 41">
            <a:extLst>
              <a:ext uri="{FF2B5EF4-FFF2-40B4-BE49-F238E27FC236}">
                <a16:creationId xmlns:a16="http://schemas.microsoft.com/office/drawing/2014/main" id="{E8484475-445E-90FC-CE0B-B5DBED8F93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1635657"/>
              </p:ext>
            </p:extLst>
          </p:nvPr>
        </p:nvGraphicFramePr>
        <p:xfrm>
          <a:off x="1058615" y="2204864"/>
          <a:ext cx="9694668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0707">
                  <a:extLst>
                    <a:ext uri="{9D8B030D-6E8A-4147-A177-3AD203B41FA5}">
                      <a16:colId xmlns:a16="http://schemas.microsoft.com/office/drawing/2014/main" val="1288531711"/>
                    </a:ext>
                  </a:extLst>
                </a:gridCol>
                <a:gridCol w="2452405">
                  <a:extLst>
                    <a:ext uri="{9D8B030D-6E8A-4147-A177-3AD203B41FA5}">
                      <a16:colId xmlns:a16="http://schemas.microsoft.com/office/drawing/2014/main" val="2868275351"/>
                    </a:ext>
                  </a:extLst>
                </a:gridCol>
                <a:gridCol w="3231556">
                  <a:extLst>
                    <a:ext uri="{9D8B030D-6E8A-4147-A177-3AD203B41FA5}">
                      <a16:colId xmlns:a16="http://schemas.microsoft.com/office/drawing/2014/main" val="3672088750"/>
                    </a:ext>
                  </a:extLst>
                </a:gridCol>
              </a:tblGrid>
              <a:tr h="326965">
                <a:tc>
                  <a:txBody>
                    <a:bodyPr/>
                    <a:lstStyle/>
                    <a:p>
                      <a:endParaRPr kumimoji="1" lang="en-US" sz="18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ViT</a:t>
                      </a:r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Cross-N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982563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construction branch siz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43.2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10.5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911498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gression branch siz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19.1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7.5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6090945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construction latent vector sha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64, 768]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768, 8, 8]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164434"/>
                  </a:ext>
                </a:extLst>
              </a:tr>
              <a:tr h="261430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gression latent sha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7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256, 512] </a:t>
                      </a:r>
                    </a:p>
                    <a:p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7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512, 16, 16] </a:t>
                      </a:r>
                    </a:p>
                    <a:p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9244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60715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able 41">
            <a:extLst>
              <a:ext uri="{FF2B5EF4-FFF2-40B4-BE49-F238E27FC236}">
                <a16:creationId xmlns:a16="http://schemas.microsoft.com/office/drawing/2014/main" id="{E8484475-445E-90FC-CE0B-B5DBED8F93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8900203"/>
              </p:ext>
            </p:extLst>
          </p:nvPr>
        </p:nvGraphicFramePr>
        <p:xfrm>
          <a:off x="651418" y="1124744"/>
          <a:ext cx="10225136" cy="42976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287960">
                  <a:extLst>
                    <a:ext uri="{9D8B030D-6E8A-4147-A177-3AD203B41FA5}">
                      <a16:colId xmlns:a16="http://schemas.microsoft.com/office/drawing/2014/main" val="1288531711"/>
                    </a:ext>
                  </a:extLst>
                </a:gridCol>
                <a:gridCol w="5937176">
                  <a:extLst>
                    <a:ext uri="{9D8B030D-6E8A-4147-A177-3AD203B41FA5}">
                      <a16:colId xmlns:a16="http://schemas.microsoft.com/office/drawing/2014/main" val="2868275351"/>
                    </a:ext>
                  </a:extLst>
                </a:gridCol>
              </a:tblGrid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bg1"/>
                          </a:solidFill>
                        </a:rPr>
                        <a:t>Model name </a:t>
                      </a:r>
                      <a:endParaRPr kumimoji="1" lang="en-US" sz="1800" b="1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sz="1800" kern="120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kumimoji="1" lang="en-US" sz="180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1982563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kern="1200">
                          <a:solidFill>
                            <a:schemeClr val="tx1"/>
                          </a:solidFill>
                        </a:rPr>
                        <a:t>HRNet</a:t>
                      </a:r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800"/>
                        <a:t>HRNet uses a deep residual network as encoder and simple periodic shuffling as a decoder.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11498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kern="1200">
                          <a:solidFill>
                            <a:schemeClr val="tx1"/>
                          </a:solidFill>
                        </a:rPr>
                        <a:t>Dense-U-Net</a:t>
                      </a:r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800"/>
                        <a:t>Dense-U-net is an upgraded version of U-net, it adds specially designed dense blocks to the traditional U-net.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6090945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kern="1200">
                          <a:solidFill>
                            <a:schemeClr val="tx1"/>
                          </a:solidFill>
                        </a:rPr>
                        <a:t>Fourier Imager Network(FIN)</a:t>
                      </a:r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7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The FIN architecture is based on spatial Fourier transform modules that process the spatial frequencies of its inputs using learnable filters and a global receptive field. </a:t>
                      </a:r>
                    </a:p>
                    <a:p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164434"/>
                  </a:ext>
                </a:extLst>
              </a:tr>
              <a:tr h="261430">
                <a:tc>
                  <a:txBody>
                    <a:bodyPr/>
                    <a:lstStyle/>
                    <a:p>
                      <a:r>
                        <a:rPr kumimoji="1" lang="en-US" sz="1800" kern="1200">
                          <a:solidFill>
                            <a:schemeClr val="tx1"/>
                          </a:solidFill>
                        </a:rPr>
                        <a:t>Ehanced Fourier Imager Network(eFIN)</a:t>
                      </a:r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800"/>
                        <a:t>Compared to FIN, eFIN uses a shallow U-net to extract filters of spatial frequencies and features needed for refocusing.</a:t>
                      </a:r>
                    </a:p>
                    <a:p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1924439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0075660-5860-94E3-EB57-B9EB6DA31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567" y="332656"/>
            <a:ext cx="2327560" cy="430759"/>
          </a:xfrm>
        </p:spPr>
        <p:txBody>
          <a:bodyPr/>
          <a:lstStyle/>
          <a:p>
            <a:r>
              <a:rPr lang="en-US" dirty="0"/>
              <a:t>Benchmarks </a:t>
            </a:r>
          </a:p>
        </p:txBody>
      </p:sp>
    </p:spTree>
    <p:extLst>
      <p:ext uri="{BB962C8B-B14F-4D97-AF65-F5344CB8AC3E}">
        <p14:creationId xmlns:p14="http://schemas.microsoft.com/office/powerpoint/2010/main" val="21375032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mental Results</a:t>
            </a:r>
          </a:p>
        </p:txBody>
      </p:sp>
    </p:spTree>
    <p:extLst>
      <p:ext uri="{BB962C8B-B14F-4D97-AF65-F5344CB8AC3E}">
        <p14:creationId xmlns:p14="http://schemas.microsoft.com/office/powerpoint/2010/main" val="2508848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dirty="0"/>
              <a:t>Introduction</a:t>
            </a:r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sz="2350" dirty="0">
                <a:cs typeface="Arial"/>
              </a:rPr>
              <a:t>Holographic Data Simulation</a:t>
            </a:r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sz="2350" dirty="0"/>
              <a:t>Methodology</a:t>
            </a:r>
            <a:endParaRPr lang="en-US" sz="2350" dirty="0">
              <a:cs typeface="Arial"/>
            </a:endParaRPr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sz="2350" dirty="0"/>
              <a:t>Experiment Results</a:t>
            </a:r>
            <a:endParaRPr lang="en-US" sz="2350" dirty="0">
              <a:cs typeface="Arial"/>
            </a:endParaRPr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sz="2350" dirty="0"/>
              <a:t>Ablation Studies</a:t>
            </a:r>
            <a:endParaRPr lang="en-US" sz="2350" dirty="0">
              <a:cs typeface="Arial"/>
            </a:endParaRPr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dirty="0"/>
              <a:t>Conclusions</a:t>
            </a:r>
            <a:r>
              <a:rPr lang="en-US" dirty="0">
                <a:cs typeface="Arial"/>
              </a:rPr>
              <a:t> </a:t>
            </a:r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sz="2350" dirty="0">
                <a:cs typeface="Arial"/>
              </a:rPr>
              <a:t>Future Work</a:t>
            </a:r>
            <a:endParaRPr lang="en-US" sz="2350" dirty="0"/>
          </a:p>
          <a:p>
            <a:pPr marL="342265" indent="-342265">
              <a:buFont typeface="Wingdings" panose="05000000000000000000" pitchFamily="2" charset="2"/>
              <a:buChar char="§"/>
            </a:pPr>
            <a:r>
              <a:rPr lang="en-US" dirty="0"/>
              <a:t>Appendix</a:t>
            </a:r>
            <a:endParaRPr lang="en-US" dirty="0">
              <a:cs typeface="Arial"/>
            </a:endParaRPr>
          </a:p>
          <a:p>
            <a:pPr marL="342265" indent="-342265">
              <a:buFont typeface="Wingdings" panose="05000000000000000000" pitchFamily="2" charset="2"/>
              <a:buChar char="§"/>
            </a:pP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468974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543" y="260648"/>
            <a:ext cx="5722720" cy="430759"/>
          </a:xfrm>
        </p:spPr>
        <p:txBody>
          <a:bodyPr/>
          <a:lstStyle/>
          <a:p>
            <a:r>
              <a:rPr lang="en-US" dirty="0"/>
              <a:t>Experiment results: Loss curves</a:t>
            </a:r>
          </a:p>
        </p:txBody>
      </p:sp>
      <p:pic>
        <p:nvPicPr>
          <p:cNvPr id="5" name="Picture 4" descr="A group of graphs showing different colors&#10;&#10;Description automatically generated">
            <a:extLst>
              <a:ext uri="{FF2B5EF4-FFF2-40B4-BE49-F238E27FC236}">
                <a16:creationId xmlns:a16="http://schemas.microsoft.com/office/drawing/2014/main" id="{123A6925-8F4F-C2A2-9A04-8C33B88DE8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" y="850973"/>
            <a:ext cx="8267760" cy="475301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4340883-FA7E-4630-34A4-AB6C13DF550F}"/>
              </a:ext>
            </a:extLst>
          </p:cNvPr>
          <p:cNvSpPr txBox="1"/>
          <p:nvPr/>
        </p:nvSpPr>
        <p:spPr>
          <a:xfrm>
            <a:off x="0" y="5442656"/>
            <a:ext cx="890782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e ticks on the x-axis mean the number of epochs. (a): L1 loss of reconstruction on the train set. (b): L1 loss of reconstruction on the test set.  (c): L1 loss of distance z regression (d): Zoom in of the region with green shadow in (c). The plot (d) uses a linear scale instead of a logarithmic scal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67C9E2-7795-1A8C-4F11-5AC8A831AC8A}"/>
              </a:ext>
            </a:extLst>
          </p:cNvPr>
          <p:cNvSpPr txBox="1"/>
          <p:nvPr/>
        </p:nvSpPr>
        <p:spPr>
          <a:xfrm>
            <a:off x="8187407" y="3885501"/>
            <a:ext cx="40829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raining of </a:t>
            </a:r>
            <a:r>
              <a:rPr lang="en-US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s very unstable</a:t>
            </a:r>
          </a:p>
        </p:txBody>
      </p:sp>
      <p:graphicFrame>
        <p:nvGraphicFramePr>
          <p:cNvPr id="3" name="Table 41">
            <a:extLst>
              <a:ext uri="{FF2B5EF4-FFF2-40B4-BE49-F238E27FC236}">
                <a16:creationId xmlns:a16="http://schemas.microsoft.com/office/drawing/2014/main" id="{056C12A5-F321-EFE4-96C5-5EB014D93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180589"/>
              </p:ext>
            </p:extLst>
          </p:nvPr>
        </p:nvGraphicFramePr>
        <p:xfrm>
          <a:off x="8547447" y="1559686"/>
          <a:ext cx="3312368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128">
                  <a:extLst>
                    <a:ext uri="{9D8B030D-6E8A-4147-A177-3AD203B41FA5}">
                      <a16:colId xmlns:a16="http://schemas.microsoft.com/office/drawing/2014/main" val="128853171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86827535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672088750"/>
                    </a:ext>
                  </a:extLst>
                </a:gridCol>
              </a:tblGrid>
              <a:tr h="191492">
                <a:tc>
                  <a:txBody>
                    <a:bodyPr/>
                    <a:lstStyle/>
                    <a:p>
                      <a:endParaRPr kumimoji="1" lang="en-US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4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Train los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4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Test los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982563"/>
                  </a:ext>
                </a:extLst>
              </a:tr>
              <a:tr h="191492">
                <a:tc>
                  <a:txBody>
                    <a:bodyPr/>
                    <a:lstStyle/>
                    <a:p>
                      <a:r>
                        <a:rPr kumimoji="1" lang="en-US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F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409</a:t>
                      </a:r>
                      <a:endParaRPr kumimoji="1" lang="en-US" sz="1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432</a:t>
                      </a:r>
                      <a:endParaRPr kumimoji="1" lang="en-US" sz="1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911498"/>
                  </a:ext>
                </a:extLst>
              </a:tr>
              <a:tr h="191492">
                <a:tc>
                  <a:txBody>
                    <a:bodyPr/>
                    <a:lstStyle/>
                    <a:p>
                      <a:r>
                        <a:rPr kumimoji="1" lang="en-US" sz="1400" b="1" kern="12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eFIN</a:t>
                      </a:r>
                      <a:endParaRPr kumimoji="1" lang="en-US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512</a:t>
                      </a:r>
                      <a:endParaRPr kumimoji="1" lang="en-US" sz="1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528</a:t>
                      </a:r>
                      <a:endParaRPr kumimoji="1" lang="en-US" sz="1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6090945"/>
                  </a:ext>
                </a:extLst>
              </a:tr>
              <a:tr h="191492">
                <a:tc>
                  <a:txBody>
                    <a:bodyPr/>
                    <a:lstStyle/>
                    <a:p>
                      <a:r>
                        <a:rPr kumimoji="1" lang="en-US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Cross-N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66</a:t>
                      </a:r>
                      <a:endParaRPr kumimoji="1" lang="en-US" sz="1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83</a:t>
                      </a:r>
                      <a:endParaRPr kumimoji="1" lang="en-US" sz="1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16443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E830FD0-0102-E04D-FD1C-4A790286D3D9}"/>
              </a:ext>
            </a:extLst>
          </p:cNvPr>
          <p:cNvSpPr txBox="1"/>
          <p:nvPr/>
        </p:nvSpPr>
        <p:spPr>
          <a:xfrm>
            <a:off x="8403431" y="3012034"/>
            <a:ext cx="357153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rain loss and test loss of FIN, 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Cross-Net at epoch 300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2A5DB9-F2F0-A4E6-CD12-83749F708172}"/>
              </a:ext>
            </a:extLst>
          </p:cNvPr>
          <p:cNvSpPr txBox="1"/>
          <p:nvPr/>
        </p:nvSpPr>
        <p:spPr>
          <a:xfrm>
            <a:off x="8187407" y="4449311"/>
            <a:ext cx="39679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T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nverges all regressions to 500um which is the median of 300um - 700um.</a:t>
            </a:r>
          </a:p>
        </p:txBody>
      </p:sp>
    </p:spTree>
    <p:extLst>
      <p:ext uri="{BB962C8B-B14F-4D97-AF65-F5344CB8AC3E}">
        <p14:creationId xmlns:p14="http://schemas.microsoft.com/office/powerpoint/2010/main" val="232157750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543" y="260648"/>
            <a:ext cx="7078861" cy="430759"/>
          </a:xfrm>
        </p:spPr>
        <p:txBody>
          <a:bodyPr/>
          <a:lstStyle/>
          <a:p>
            <a:r>
              <a:rPr lang="en-US" dirty="0"/>
              <a:t>Experiment results: Metrics on test se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416275" y="4424065"/>
            <a:ext cx="689451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rics to show average reconstruction and regression quality on test set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7CBBC1F-B482-C141-B47A-CE0223A61253}"/>
                  </a:ext>
                </a:extLst>
              </p:cNvPr>
              <p:cNvSpPr txBox="1"/>
              <p:nvPr/>
            </p:nvSpPr>
            <p:spPr>
              <a:xfrm>
                <a:off x="1346647" y="5314351"/>
                <a:ext cx="1584176" cy="72008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𝑆𝑆𝐼𝑀</m:t>
                          </m:r>
                        </m:e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p>
                      </m:sSup>
                      <m:r>
                        <a:rPr lang="en-US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↑</m:t>
                      </m:r>
                    </m:oMath>
                  </m:oMathPara>
                </a14:m>
                <a:endParaRPr lang="en-US" sz="1800" dirty="0"/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𝑆𝑆𝐼𝑀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l-G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Φ</m:t>
                          </m:r>
                        </m:sup>
                      </m:s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↑</m:t>
                      </m:r>
                    </m:oMath>
                  </m:oMathPara>
                </a14:m>
                <a:endParaRPr lang="en-US" sz="1800" dirty="0">
                  <a:ea typeface="Cambria Math" panose="02040503050406030204" pitchFamily="18" charset="0"/>
                </a:endParaRPr>
              </a:p>
              <a:p>
                <a:pPr algn="l"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𝑆𝑁𝑅</m:t>
                          </m:r>
                        </m:e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p>
                      </m:sSup>
                      <m:r>
                        <a:rPr lang="en-US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↑</m:t>
                      </m:r>
                    </m:oMath>
                  </m:oMathPara>
                </a14:m>
                <a:endParaRPr lang="en-US" sz="1800" dirty="0"/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𝑆𝑁𝑅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l-G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Φ</m:t>
                          </m:r>
                        </m:sup>
                      </m:s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↑</m:t>
                      </m:r>
                    </m:oMath>
                  </m:oMathPara>
                </a14:m>
                <a:endParaRPr lang="en-US" sz="1800" dirty="0">
                  <a:ea typeface="Cambria Math" panose="02040503050406030204" pitchFamily="18" charset="0"/>
                </a:endParaRP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endParaRPr lang="en-US" sz="1800" dirty="0">
                  <a:ea typeface="Cambria Math" panose="02040503050406030204" pitchFamily="18" charset="0"/>
                </a:endParaRPr>
              </a:p>
              <a:p>
                <a:pPr>
                  <a:spcBef>
                    <a:spcPts val="600"/>
                  </a:spcBef>
                  <a:buClr>
                    <a:schemeClr val="tx2"/>
                  </a:buClr>
                </a:pPr>
                <a:endParaRPr lang="en-US" sz="1800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7CBBC1F-B482-C141-B47A-CE0223A612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6647" y="5314351"/>
                <a:ext cx="1584176" cy="720080"/>
              </a:xfrm>
              <a:prstGeom prst="rect">
                <a:avLst/>
              </a:prstGeom>
              <a:blipFill>
                <a:blip r:embed="rId3"/>
                <a:stretch>
                  <a:fillRect b="-584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able 6">
                <a:extLst>
                  <a:ext uri="{FF2B5EF4-FFF2-40B4-BE49-F238E27FC236}">
                    <a16:creationId xmlns:a16="http://schemas.microsoft.com/office/drawing/2014/main" id="{CE15D2ED-3A48-6EC7-DAE9-4D35E38CACC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32875689"/>
                  </p:ext>
                </p:extLst>
              </p:nvPr>
            </p:nvGraphicFramePr>
            <p:xfrm>
              <a:off x="440422" y="1482438"/>
              <a:ext cx="6199476" cy="224024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33246">
                      <a:extLst>
                        <a:ext uri="{9D8B030D-6E8A-4147-A177-3AD203B41FA5}">
                          <a16:colId xmlns:a16="http://schemas.microsoft.com/office/drawing/2014/main" val="3649519591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836011092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804624464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331071730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15122719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4025252401"/>
                        </a:ext>
                      </a:extLst>
                    </a:gridCol>
                  </a:tblGrid>
                  <a:tr h="354305">
                    <a:tc>
                      <a:txBody>
                        <a:bodyPr/>
                        <a:lstStyle/>
                        <a:p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𝑆𝑆𝐼𝑀</m:t>
                                    </m:r>
                                  </m:e>
                                  <m:sup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𝑆𝑆𝐼𝑀</m:t>
                                    </m:r>
                                  </m:e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el-GR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2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2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𝑆𝑁𝑅</m:t>
                                    </m:r>
                                  </m:e>
                                  <m:sup>
                                    <m:r>
                                      <a:rPr lang="en-US" sz="12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𝑆𝑁𝑅</m:t>
                                    </m:r>
                                  </m:e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el-GR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𝑧</m:t>
                                </m:r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_</m:t>
                                </m:r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𝑒𝑟𝑟𝑜𝑟</m:t>
                                </m:r>
                              </m:oMath>
                            </m:oMathPara>
                          </a14:m>
                          <a:endParaRPr kumimoji="1" lang="en-US" sz="1400" b="0" i="1" kern="12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2117059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HRNe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37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59376041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Den-U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2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0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77396678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FIN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8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6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6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29178675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eFIN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4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2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5.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2.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.3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34617490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Vi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7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53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2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4334908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Cross-Net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1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89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7.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4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048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364370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Table 6">
                <a:extLst>
                  <a:ext uri="{FF2B5EF4-FFF2-40B4-BE49-F238E27FC236}">
                    <a16:creationId xmlns:a16="http://schemas.microsoft.com/office/drawing/2014/main" id="{CE15D2ED-3A48-6EC7-DAE9-4D35E38CACC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32875689"/>
                  </p:ext>
                </p:extLst>
              </p:nvPr>
            </p:nvGraphicFramePr>
            <p:xfrm>
              <a:off x="440422" y="1482438"/>
              <a:ext cx="6199476" cy="224024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33246">
                      <a:extLst>
                        <a:ext uri="{9D8B030D-6E8A-4147-A177-3AD203B41FA5}">
                          <a16:colId xmlns:a16="http://schemas.microsoft.com/office/drawing/2014/main" val="3649519591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836011092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804624464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331071730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15122719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4025252401"/>
                        </a:ext>
                      </a:extLst>
                    </a:gridCol>
                  </a:tblGrid>
                  <a:tr h="354305">
                    <a:tc>
                      <a:txBody>
                        <a:bodyPr/>
                        <a:lstStyle/>
                        <a:p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101183" t="-1724" r="-402959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200000" t="-1724" r="-300588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300000" t="-1724" r="-200588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402367" t="-1724" r="-101775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499412" t="-1724" r="-1176" b="-55000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2117059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HRNe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37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59376041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Den-U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2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0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77396678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FIN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8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6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6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29178675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eFIN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4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2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5.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2.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.3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34617490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Vi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7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53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2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4334908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Cross-Net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1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89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7.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4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048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3643705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BC24E979-9EFB-75DC-4AE5-B7476FBDC1DA}"/>
              </a:ext>
            </a:extLst>
          </p:cNvPr>
          <p:cNvSpPr txBox="1"/>
          <p:nvPr/>
        </p:nvSpPr>
        <p:spPr>
          <a:xfrm>
            <a:off x="4154959" y="5733256"/>
            <a:ext cx="138991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Better quality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5BBF994-37CA-ED77-8356-69CD9196AF67}"/>
              </a:ext>
            </a:extLst>
          </p:cNvPr>
          <p:cNvCxnSpPr>
            <a:cxnSpLocks/>
          </p:cNvCxnSpPr>
          <p:nvPr/>
        </p:nvCxnSpPr>
        <p:spPr>
          <a:xfrm>
            <a:off x="2930823" y="5877272"/>
            <a:ext cx="93271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black and white text&#10;&#10;Description automatically generated with medium confidence">
            <a:extLst>
              <a:ext uri="{FF2B5EF4-FFF2-40B4-BE49-F238E27FC236}">
                <a16:creationId xmlns:a16="http://schemas.microsoft.com/office/drawing/2014/main" id="{A8AE9C7E-7D03-3BAB-AD0E-69FDAB5279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9375" y="691407"/>
            <a:ext cx="3425946" cy="936104"/>
          </a:xfrm>
          <a:prstGeom prst="rect">
            <a:avLst/>
          </a:prstGeom>
        </p:spPr>
      </p:pic>
      <p:pic>
        <p:nvPicPr>
          <p:cNvPr id="14" name="Picture 13" descr="A number and symbol on a white background&#10;&#10;Description automatically generated">
            <a:extLst>
              <a:ext uri="{FF2B5EF4-FFF2-40B4-BE49-F238E27FC236}">
                <a16:creationId xmlns:a16="http://schemas.microsoft.com/office/drawing/2014/main" id="{F01BBA07-8ACE-4050-57AB-ACED308424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9375" y="1607064"/>
            <a:ext cx="2686265" cy="78111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CD468E-5DAF-FF3F-D12F-C8821039F7DF}"/>
              </a:ext>
            </a:extLst>
          </p:cNvPr>
          <p:cNvSpPr txBox="1"/>
          <p:nvPr/>
        </p:nvSpPr>
        <p:spPr>
          <a:xfrm>
            <a:off x="6963271" y="2326903"/>
            <a:ext cx="60990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 is the maximum fluctuation in the input image data type</a:t>
            </a:r>
          </a:p>
        </p:txBody>
      </p:sp>
      <p:pic>
        <p:nvPicPr>
          <p:cNvPr id="18" name="Picture 17" descr="A math equations on a white background&#10;&#10;Description automatically generated">
            <a:extLst>
              <a:ext uri="{FF2B5EF4-FFF2-40B4-BE49-F238E27FC236}">
                <a16:creationId xmlns:a16="http://schemas.microsoft.com/office/drawing/2014/main" id="{34FCA995-83EC-CDB8-533C-290C9C5AE9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1324" y="3616622"/>
            <a:ext cx="5061432" cy="27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352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3434879" y="5298048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RNet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Picture 14" descr="A collage of images of a cell&#10;&#10;Description automatically generated">
            <a:extLst>
              <a:ext uri="{FF2B5EF4-FFF2-40B4-BE49-F238E27FC236}">
                <a16:creationId xmlns:a16="http://schemas.microsoft.com/office/drawing/2014/main" id="{4C67D8E5-AD03-B132-A9BF-10B352D214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59" y="1457656"/>
            <a:ext cx="11291523" cy="376384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10285880" y="3241285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866282" y="3195598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248809" y="2138395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57932" y="399864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4F9103-976F-178C-6FD9-054F4BDBE1E9}"/>
              </a:ext>
            </a:extLst>
          </p:cNvPr>
          <p:cNvSpPr txBox="1"/>
          <p:nvPr/>
        </p:nvSpPr>
        <p:spPr>
          <a:xfrm>
            <a:off x="8187406" y="332656"/>
            <a:ext cx="3658675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Introduce from the worst model 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/>
              <a:t>to the best model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545125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4298975" y="5337902"/>
            <a:ext cx="43919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RNet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Zoom in</a:t>
            </a:r>
          </a:p>
        </p:txBody>
      </p:sp>
      <p:pic>
        <p:nvPicPr>
          <p:cNvPr id="8" name="Picture 7" descr="A collage of images of a cell&#10;&#10;Description automatically generated">
            <a:extLst>
              <a:ext uri="{FF2B5EF4-FFF2-40B4-BE49-F238E27FC236}">
                <a16:creationId xmlns:a16="http://schemas.microsoft.com/office/drawing/2014/main" id="{581E7B8B-EA4F-1803-CAE1-1220B5CD97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468" y="1312767"/>
            <a:ext cx="10968909" cy="36563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C1FD87A-7303-220E-2AD1-C45DAFAA87BA}"/>
              </a:ext>
            </a:extLst>
          </p:cNvPr>
          <p:cNvSpPr/>
          <p:nvPr/>
        </p:nvSpPr>
        <p:spPr>
          <a:xfrm>
            <a:off x="698575" y="1312767"/>
            <a:ext cx="11017224" cy="3798949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408FE8-EC59-1866-14DA-D13404812782}"/>
              </a:ext>
            </a:extLst>
          </p:cNvPr>
          <p:cNvSpPr txBox="1"/>
          <p:nvPr/>
        </p:nvSpPr>
        <p:spPr>
          <a:xfrm rot="16200000">
            <a:off x="102917" y="1891680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5F1232D-FB85-61CE-0D8C-92C4E9BDF061}"/>
              </a:ext>
            </a:extLst>
          </p:cNvPr>
          <p:cNvSpPr txBox="1"/>
          <p:nvPr/>
        </p:nvSpPr>
        <p:spPr>
          <a:xfrm rot="16200000">
            <a:off x="-288896" y="3817537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257454-FCA3-D201-624F-BF26EFD448D4}"/>
              </a:ext>
            </a:extLst>
          </p:cNvPr>
          <p:cNvSpPr txBox="1"/>
          <p:nvPr/>
        </p:nvSpPr>
        <p:spPr>
          <a:xfrm>
            <a:off x="9862934" y="2832661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</p:spTree>
    <p:extLst>
      <p:ext uri="{BB962C8B-B14F-4D97-AF65-F5344CB8AC3E}">
        <p14:creationId xmlns:p14="http://schemas.microsoft.com/office/powerpoint/2010/main" val="4116150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lage of images of bacteria&#10;&#10;Description automatically generated">
            <a:extLst>
              <a:ext uri="{FF2B5EF4-FFF2-40B4-BE49-F238E27FC236}">
                <a16:creationId xmlns:a16="http://schemas.microsoft.com/office/drawing/2014/main" id="{D78C2BA4-862F-EBAE-3220-A136D853E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631" y="754668"/>
            <a:ext cx="10445087" cy="52225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846536" y="6091592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nse-U-ne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9843591" y="2485015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708236" y="2284480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9843591" y="4286403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728296" y="6103332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</p:spTree>
    <p:extLst>
      <p:ext uri="{BB962C8B-B14F-4D97-AF65-F5344CB8AC3E}">
        <p14:creationId xmlns:p14="http://schemas.microsoft.com/office/powerpoint/2010/main" val="22848208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595119" y="5958461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nse-U-net  Zoom in</a:t>
            </a:r>
          </a:p>
        </p:txBody>
      </p:sp>
      <p:pic>
        <p:nvPicPr>
          <p:cNvPr id="4" name="Picture 3" descr="A collage of images of cells&#10;&#10;Description automatically generated">
            <a:extLst>
              <a:ext uri="{FF2B5EF4-FFF2-40B4-BE49-F238E27FC236}">
                <a16:creationId xmlns:a16="http://schemas.microsoft.com/office/drawing/2014/main" id="{587CB58C-F87E-4C56-8603-B16FA6F630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267" y="733824"/>
            <a:ext cx="10449272" cy="522463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10012706" y="2314125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9877233" y="6096960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BA2CEE-47FA-D771-3669-CF76858FF910}"/>
              </a:ext>
            </a:extLst>
          </p:cNvPr>
          <p:cNvSpPr/>
          <p:nvPr/>
        </p:nvSpPr>
        <p:spPr>
          <a:xfrm>
            <a:off x="1128502" y="823615"/>
            <a:ext cx="10803322" cy="5273345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3829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age of images of bacteria&#10;&#10;Description automatically generated">
            <a:extLst>
              <a:ext uri="{FF2B5EF4-FFF2-40B4-BE49-F238E27FC236}">
                <a16:creationId xmlns:a16="http://schemas.microsoft.com/office/drawing/2014/main" id="{23905216-AA39-9CB0-01A5-DBE71175DA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05" y="734409"/>
            <a:ext cx="10468868" cy="523443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499219" y="6123835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T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9843591" y="2485015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708236" y="2284480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9851837" y="4284459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728296" y="6103332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</p:spTree>
    <p:extLst>
      <p:ext uri="{BB962C8B-B14F-4D97-AF65-F5344CB8AC3E}">
        <p14:creationId xmlns:p14="http://schemas.microsoft.com/office/powerpoint/2010/main" val="36758433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lage of images of cells&#10;&#10;Description automatically generated">
            <a:extLst>
              <a:ext uri="{FF2B5EF4-FFF2-40B4-BE49-F238E27FC236}">
                <a16:creationId xmlns:a16="http://schemas.microsoft.com/office/drawing/2014/main" id="{C3553E19-0202-61C9-6463-B206B5784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221" y="963721"/>
            <a:ext cx="10211537" cy="510576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235079" y="6096960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T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Zoom 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9876396" y="2314125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9877233" y="6096960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49E9D0-379C-7834-85C6-BC033525E501}"/>
              </a:ext>
            </a:extLst>
          </p:cNvPr>
          <p:cNvSpPr/>
          <p:nvPr/>
        </p:nvSpPr>
        <p:spPr>
          <a:xfrm>
            <a:off x="1144222" y="936251"/>
            <a:ext cx="10616190" cy="5229053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784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ollage of images of bacteria&#10;&#10;Description automatically generated">
            <a:extLst>
              <a:ext uri="{FF2B5EF4-FFF2-40B4-BE49-F238E27FC236}">
                <a16:creationId xmlns:a16="http://schemas.microsoft.com/office/drawing/2014/main" id="{58DD055E-C020-6B7A-2DE6-25D1AC9922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79" y="580627"/>
            <a:ext cx="10881322" cy="54406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499219" y="6123835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10148007" y="2374435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959271" y="2251612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10043015" y="4284459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830542" y="6092707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</p:spTree>
    <p:extLst>
      <p:ext uri="{BB962C8B-B14F-4D97-AF65-F5344CB8AC3E}">
        <p14:creationId xmlns:p14="http://schemas.microsoft.com/office/powerpoint/2010/main" val="19685356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lage of images of cells&#10;&#10;Description automatically generated">
            <a:extLst>
              <a:ext uri="{FF2B5EF4-FFF2-40B4-BE49-F238E27FC236}">
                <a16:creationId xmlns:a16="http://schemas.microsoft.com/office/drawing/2014/main" id="{8F458566-127D-8383-000F-64690B7AE7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44" y="975961"/>
            <a:ext cx="10282492" cy="51412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235079" y="6096960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Zoom 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9771583" y="2345454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9771583" y="6145087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02FDF3-EA89-B6A5-D0D0-5BAE6ECC8A80}"/>
              </a:ext>
            </a:extLst>
          </p:cNvPr>
          <p:cNvSpPr/>
          <p:nvPr/>
        </p:nvSpPr>
        <p:spPr>
          <a:xfrm>
            <a:off x="1057345" y="970720"/>
            <a:ext cx="10480398" cy="526659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083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Introduction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59960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age of images of bacteria&#10;&#10;Description automatically generated">
            <a:extLst>
              <a:ext uri="{FF2B5EF4-FFF2-40B4-BE49-F238E27FC236}">
                <a16:creationId xmlns:a16="http://schemas.microsoft.com/office/drawing/2014/main" id="{ADAD41EB-4385-A38A-E252-C7F37B182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895" y="726416"/>
            <a:ext cx="10810336" cy="540516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499219" y="6123835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10101190" y="2528384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959271" y="2251612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10043015" y="4419458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830542" y="6092707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</p:spTree>
    <p:extLst>
      <p:ext uri="{BB962C8B-B14F-4D97-AF65-F5344CB8AC3E}">
        <p14:creationId xmlns:p14="http://schemas.microsoft.com/office/powerpoint/2010/main" val="15304440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lage of images of cells&#10;&#10;Description automatically generated">
            <a:extLst>
              <a:ext uri="{FF2B5EF4-FFF2-40B4-BE49-F238E27FC236}">
                <a16:creationId xmlns:a16="http://schemas.microsoft.com/office/drawing/2014/main" id="{6F4F1438-8E8A-5112-FC52-421357D88F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460" y="749961"/>
            <a:ext cx="10851702" cy="54258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235079" y="6096960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N  Zoom 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10095315" y="2373010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10027003" y="6196838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6F7C73-B811-238B-1671-703CCBB1BB2D}"/>
              </a:ext>
            </a:extLst>
          </p:cNvPr>
          <p:cNvSpPr/>
          <p:nvPr/>
        </p:nvSpPr>
        <p:spPr>
          <a:xfrm>
            <a:off x="1080120" y="814142"/>
            <a:ext cx="10851703" cy="542585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5479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ollage of images of bacteria&#10;&#10;Description automatically generated">
            <a:extLst>
              <a:ext uri="{FF2B5EF4-FFF2-40B4-BE49-F238E27FC236}">
                <a16:creationId xmlns:a16="http://schemas.microsoft.com/office/drawing/2014/main" id="{77232072-74E8-63C2-C64C-554F486385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591" y="820667"/>
            <a:ext cx="10419656" cy="52098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499219" y="6123835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oss-Ne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9830542" y="2492896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681592" y="2220257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9843591" y="4326533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620686" y="6234002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</p:spTree>
    <p:extLst>
      <p:ext uri="{BB962C8B-B14F-4D97-AF65-F5344CB8AC3E}">
        <p14:creationId xmlns:p14="http://schemas.microsoft.com/office/powerpoint/2010/main" val="17797637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332656"/>
            <a:ext cx="4975721" cy="430759"/>
          </a:xfrm>
        </p:spPr>
        <p:txBody>
          <a:bodyPr/>
          <a:lstStyle/>
          <a:p>
            <a:r>
              <a:rPr lang="en-US" dirty="0"/>
              <a:t>Experiment results: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235079" y="6096960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rossNet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Zoom 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pic>
        <p:nvPicPr>
          <p:cNvPr id="7" name="Picture 6" descr="A collage of images of cells&#10;&#10;Description automatically generated">
            <a:extLst>
              <a:ext uri="{FF2B5EF4-FFF2-40B4-BE49-F238E27FC236}">
                <a16:creationId xmlns:a16="http://schemas.microsoft.com/office/drawing/2014/main" id="{F78F8EDA-89D0-CA47-0F4D-03460DBEC0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44" y="990580"/>
            <a:ext cx="10226407" cy="51132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9750263" y="2351745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9750263" y="6154506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ACCBC1-D4CA-BF96-3163-CE81888F889A}"/>
              </a:ext>
            </a:extLst>
          </p:cNvPr>
          <p:cNvSpPr/>
          <p:nvPr/>
        </p:nvSpPr>
        <p:spPr>
          <a:xfrm>
            <a:off x="1097271" y="1031032"/>
            <a:ext cx="10500935" cy="520628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402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485E750-E2DB-7481-EAA8-B5E32C69FA96}"/>
              </a:ext>
            </a:extLst>
          </p:cNvPr>
          <p:cNvSpPr/>
          <p:nvPr/>
        </p:nvSpPr>
        <p:spPr>
          <a:xfrm>
            <a:off x="6034637" y="1844824"/>
            <a:ext cx="4971421" cy="3528392"/>
          </a:xfrm>
          <a:prstGeom prst="roundRect">
            <a:avLst>
              <a:gd name="adj" fmla="val 4689"/>
            </a:avLst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F566A2A-BDF8-5B4D-AC30-A3011A336254}"/>
              </a:ext>
            </a:extLst>
          </p:cNvPr>
          <p:cNvSpPr/>
          <p:nvPr/>
        </p:nvSpPr>
        <p:spPr>
          <a:xfrm>
            <a:off x="914599" y="1844824"/>
            <a:ext cx="4608512" cy="3528392"/>
          </a:xfrm>
          <a:prstGeom prst="roundRect">
            <a:avLst>
              <a:gd name="adj" fmla="val 4689"/>
            </a:avLst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543" y="260648"/>
            <a:ext cx="7838684" cy="430759"/>
          </a:xfrm>
        </p:spPr>
        <p:txBody>
          <a:bodyPr/>
          <a:lstStyle/>
          <a:p>
            <a:r>
              <a:rPr lang="en-US" dirty="0"/>
              <a:t>Experiment results: External generaliz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BCC3CF-B84C-2C6C-1362-D4BA59B6B02F}"/>
              </a:ext>
            </a:extLst>
          </p:cNvPr>
          <p:cNvSpPr txBox="1"/>
          <p:nvPr/>
        </p:nvSpPr>
        <p:spPr>
          <a:xfrm>
            <a:off x="338535" y="908720"/>
            <a:ext cx="104411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etwork is trained on synthetic images generated by a stable diffusion model and tested outer QPI data with different overall statistics. </a:t>
            </a:r>
          </a:p>
        </p:txBody>
      </p:sp>
      <p:pic>
        <p:nvPicPr>
          <p:cNvPr id="4" name="Picture 3" descr="A close-up of a cell&#10;&#10;Description automatically generated">
            <a:extLst>
              <a:ext uri="{FF2B5EF4-FFF2-40B4-BE49-F238E27FC236}">
                <a16:creationId xmlns:a16="http://schemas.microsoft.com/office/drawing/2014/main" id="{59F236A6-672A-7B33-2C0E-8D6FB2F20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545" y="2399085"/>
            <a:ext cx="1454335" cy="1387486"/>
          </a:xfrm>
          <a:prstGeom prst="rect">
            <a:avLst/>
          </a:prstGeom>
        </p:spPr>
      </p:pic>
      <p:pic>
        <p:nvPicPr>
          <p:cNvPr id="7" name="Picture 6" descr="A close-up of a cell&#10;&#10;Description automatically generated">
            <a:extLst>
              <a:ext uri="{FF2B5EF4-FFF2-40B4-BE49-F238E27FC236}">
                <a16:creationId xmlns:a16="http://schemas.microsoft.com/office/drawing/2014/main" id="{97946DA6-97A0-1378-27AF-28860BC44C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545" y="3846085"/>
            <a:ext cx="1454335" cy="1384995"/>
          </a:xfrm>
          <a:prstGeom prst="rect">
            <a:avLst/>
          </a:prstGeom>
        </p:spPr>
      </p:pic>
      <p:pic>
        <p:nvPicPr>
          <p:cNvPr id="9" name="Picture 8" descr="A close-up of a cell&#10;&#10;Description automatically generated">
            <a:extLst>
              <a:ext uri="{FF2B5EF4-FFF2-40B4-BE49-F238E27FC236}">
                <a16:creationId xmlns:a16="http://schemas.microsoft.com/office/drawing/2014/main" id="{812F7BF7-6BDE-1078-39E7-A52DAF705C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248" y="3846084"/>
            <a:ext cx="1377233" cy="1384995"/>
          </a:xfrm>
          <a:prstGeom prst="rect">
            <a:avLst/>
          </a:prstGeom>
        </p:spPr>
      </p:pic>
      <p:pic>
        <p:nvPicPr>
          <p:cNvPr id="11" name="Picture 10" descr="A close-up of a grey and white surface&#10;&#10;Description automatically generated">
            <a:extLst>
              <a:ext uri="{FF2B5EF4-FFF2-40B4-BE49-F238E27FC236}">
                <a16:creationId xmlns:a16="http://schemas.microsoft.com/office/drawing/2014/main" id="{5F08729A-10E1-8929-DA1A-4C78E5FE19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008" y="3846084"/>
            <a:ext cx="1410525" cy="1384995"/>
          </a:xfrm>
          <a:prstGeom prst="rect">
            <a:avLst/>
          </a:prstGeom>
        </p:spPr>
      </p:pic>
      <p:pic>
        <p:nvPicPr>
          <p:cNvPr id="13" name="Picture 12" descr="A close-up of a cell&#10;&#10;Description automatically generated">
            <a:extLst>
              <a:ext uri="{FF2B5EF4-FFF2-40B4-BE49-F238E27FC236}">
                <a16:creationId xmlns:a16="http://schemas.microsoft.com/office/drawing/2014/main" id="{BEE300DF-F928-6410-B5DA-03481BFC11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661" y="2395451"/>
            <a:ext cx="1378820" cy="1384995"/>
          </a:xfrm>
          <a:prstGeom prst="rect">
            <a:avLst/>
          </a:prstGeom>
        </p:spPr>
      </p:pic>
      <p:pic>
        <p:nvPicPr>
          <p:cNvPr id="15" name="Picture 14" descr="A close-up of a cell&#10;&#10;Description automatically generated">
            <a:extLst>
              <a:ext uri="{FF2B5EF4-FFF2-40B4-BE49-F238E27FC236}">
                <a16:creationId xmlns:a16="http://schemas.microsoft.com/office/drawing/2014/main" id="{0A5F77F8-0176-3736-3CE9-AFEDB996BB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008" y="2395451"/>
            <a:ext cx="1410525" cy="1384995"/>
          </a:xfrm>
          <a:prstGeom prst="rect">
            <a:avLst/>
          </a:prstGeom>
        </p:spPr>
      </p:pic>
      <p:pic>
        <p:nvPicPr>
          <p:cNvPr id="3" name="Picture 2" descr="A close up of a cell&#10;&#10;Description automatically generated">
            <a:extLst>
              <a:ext uri="{FF2B5EF4-FFF2-40B4-BE49-F238E27FC236}">
                <a16:creationId xmlns:a16="http://schemas.microsoft.com/office/drawing/2014/main" id="{2E133229-F893-54E7-DDC7-638C30F762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836" y="2395452"/>
            <a:ext cx="1376900" cy="1384996"/>
          </a:xfrm>
          <a:prstGeom prst="rect">
            <a:avLst/>
          </a:prstGeom>
        </p:spPr>
      </p:pic>
      <p:pic>
        <p:nvPicPr>
          <p:cNvPr id="6" name="Picture 5" descr="A close-up of a cell&#10;&#10;Description automatically generated">
            <a:extLst>
              <a:ext uri="{FF2B5EF4-FFF2-40B4-BE49-F238E27FC236}">
                <a16:creationId xmlns:a16="http://schemas.microsoft.com/office/drawing/2014/main" id="{8ED150EC-6C87-DCEB-C513-04E1F058F4D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7906" y="2400160"/>
            <a:ext cx="1387687" cy="1387687"/>
          </a:xfrm>
          <a:prstGeom prst="rect">
            <a:avLst/>
          </a:prstGeom>
        </p:spPr>
      </p:pic>
      <p:pic>
        <p:nvPicPr>
          <p:cNvPr id="8" name="Picture 7" descr="A close up of a cell&#10;&#10;Description automatically generated">
            <a:extLst>
              <a:ext uri="{FF2B5EF4-FFF2-40B4-BE49-F238E27FC236}">
                <a16:creationId xmlns:a16="http://schemas.microsoft.com/office/drawing/2014/main" id="{A02AE30D-39F3-8F5D-1459-B3DF7412E85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860" y="2400161"/>
            <a:ext cx="1387687" cy="1387687"/>
          </a:xfrm>
          <a:prstGeom prst="rect">
            <a:avLst/>
          </a:prstGeom>
        </p:spPr>
      </p:pic>
      <p:pic>
        <p:nvPicPr>
          <p:cNvPr id="10" name="Picture 9" descr="A close-up of a cell&#10;&#10;Description automatically generated">
            <a:extLst>
              <a:ext uri="{FF2B5EF4-FFF2-40B4-BE49-F238E27FC236}">
                <a16:creationId xmlns:a16="http://schemas.microsoft.com/office/drawing/2014/main" id="{42699A8F-6BB8-D22D-93D7-9F774F933F9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58097" y="3846085"/>
            <a:ext cx="1387687" cy="1387687"/>
          </a:xfrm>
          <a:prstGeom prst="rect">
            <a:avLst/>
          </a:prstGeom>
        </p:spPr>
      </p:pic>
      <p:pic>
        <p:nvPicPr>
          <p:cNvPr id="12" name="Picture 11" descr="A close-up of a cell&#10;&#10;Description automatically generated">
            <a:extLst>
              <a:ext uri="{FF2B5EF4-FFF2-40B4-BE49-F238E27FC236}">
                <a16:creationId xmlns:a16="http://schemas.microsoft.com/office/drawing/2014/main" id="{76B5949E-30F1-B1CB-34F3-CF7A0CE8E21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609" y="3846085"/>
            <a:ext cx="1384996" cy="1384996"/>
          </a:xfrm>
          <a:prstGeom prst="rect">
            <a:avLst/>
          </a:prstGeom>
        </p:spPr>
      </p:pic>
      <p:pic>
        <p:nvPicPr>
          <p:cNvPr id="14" name="Picture 13" descr="A close-up of a cell&#10;&#10;Description automatically generated">
            <a:extLst>
              <a:ext uri="{FF2B5EF4-FFF2-40B4-BE49-F238E27FC236}">
                <a16:creationId xmlns:a16="http://schemas.microsoft.com/office/drawing/2014/main" id="{9584BC64-2DC8-37D5-FFB6-1019DD751C5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4430" y="3846085"/>
            <a:ext cx="1385022" cy="13849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FDA26FE-B5E9-9707-7656-00728E359B3C}"/>
              </a:ext>
            </a:extLst>
          </p:cNvPr>
          <p:cNvSpPr txBox="1"/>
          <p:nvPr/>
        </p:nvSpPr>
        <p:spPr>
          <a:xfrm>
            <a:off x="1273537" y="1844823"/>
            <a:ext cx="3816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ges with same training set statistic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5405727-4E99-9BBD-871F-A41F36098646}"/>
              </a:ext>
            </a:extLst>
          </p:cNvPr>
          <p:cNvSpPr txBox="1"/>
          <p:nvPr/>
        </p:nvSpPr>
        <p:spPr>
          <a:xfrm>
            <a:off x="6675058" y="1844824"/>
            <a:ext cx="3816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ges with completely different statistics</a:t>
            </a:r>
          </a:p>
        </p:txBody>
      </p:sp>
    </p:spTree>
    <p:extLst>
      <p:ext uri="{BB962C8B-B14F-4D97-AF65-F5344CB8AC3E}">
        <p14:creationId xmlns:p14="http://schemas.microsoft.com/office/powerpoint/2010/main" val="39243312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35" y="476672"/>
            <a:ext cx="7654339" cy="430759"/>
          </a:xfrm>
        </p:spPr>
        <p:txBody>
          <a:bodyPr/>
          <a:lstStyle/>
          <a:p>
            <a:r>
              <a:rPr lang="en-US" dirty="0"/>
              <a:t>Experiment result: External generaliz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842CDF-1732-6ED7-3CEB-72B30B12E5C9}"/>
              </a:ext>
            </a:extLst>
          </p:cNvPr>
          <p:cNvSpPr txBox="1"/>
          <p:nvPr/>
        </p:nvSpPr>
        <p:spPr>
          <a:xfrm>
            <a:off x="4670916" y="2795341"/>
            <a:ext cx="30607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rics valid 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EF46D4-5628-AEBB-5322-74E1DBB1FAD1}"/>
              </a:ext>
            </a:extLst>
          </p:cNvPr>
          <p:cNvSpPr txBox="1"/>
          <p:nvPr/>
        </p:nvSpPr>
        <p:spPr>
          <a:xfrm>
            <a:off x="4639917" y="5972796"/>
            <a:ext cx="77048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rics test se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le 6">
                <a:extLst>
                  <a:ext uri="{FF2B5EF4-FFF2-40B4-BE49-F238E27FC236}">
                    <a16:creationId xmlns:a16="http://schemas.microsoft.com/office/drawing/2014/main" id="{ED13EE6F-DEDD-96F5-04D1-CF6E1907137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8507473"/>
                  </p:ext>
                </p:extLst>
              </p:nvPr>
            </p:nvGraphicFramePr>
            <p:xfrm>
              <a:off x="2642791" y="3585694"/>
              <a:ext cx="6199476" cy="224024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33246">
                      <a:extLst>
                        <a:ext uri="{9D8B030D-6E8A-4147-A177-3AD203B41FA5}">
                          <a16:colId xmlns:a16="http://schemas.microsoft.com/office/drawing/2014/main" val="3649519591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836011092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804624464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331071730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15122719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4025252401"/>
                        </a:ext>
                      </a:extLst>
                    </a:gridCol>
                  </a:tblGrid>
                  <a:tr h="354305">
                    <a:tc>
                      <a:txBody>
                        <a:bodyPr/>
                        <a:lstStyle/>
                        <a:p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𝑆𝑆𝐼𝑀</m:t>
                                    </m:r>
                                  </m:e>
                                  <m:sup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𝑆𝑆𝐼𝑀</m:t>
                                    </m:r>
                                  </m:e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el-GR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2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2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𝑆𝑁𝑅</m:t>
                                    </m:r>
                                  </m:e>
                                  <m:sup>
                                    <m:r>
                                      <a:rPr lang="en-US" sz="12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𝑆𝑁𝑅</m:t>
                                    </m:r>
                                  </m:e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el-GR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𝑧</m:t>
                                </m:r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_</m:t>
                                </m:r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𝑒𝑟𝑟𝑜𝑟</m:t>
                                </m:r>
                              </m:oMath>
                            </m:oMathPara>
                          </a14:m>
                          <a:endParaRPr kumimoji="1" lang="en-US" sz="1400" b="0" i="1" kern="12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2117059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HRNe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37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59376041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Den-U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2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0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77396678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FIN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8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6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6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29178675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eFIN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4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2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5.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2.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.3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34617490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Vi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7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53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2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4334908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Cross-Net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1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89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7.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4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048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364370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le 6">
                <a:extLst>
                  <a:ext uri="{FF2B5EF4-FFF2-40B4-BE49-F238E27FC236}">
                    <a16:creationId xmlns:a16="http://schemas.microsoft.com/office/drawing/2014/main" id="{ED13EE6F-DEDD-96F5-04D1-CF6E1907137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8507473"/>
                  </p:ext>
                </p:extLst>
              </p:nvPr>
            </p:nvGraphicFramePr>
            <p:xfrm>
              <a:off x="2642791" y="3585694"/>
              <a:ext cx="6199476" cy="224024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33246">
                      <a:extLst>
                        <a:ext uri="{9D8B030D-6E8A-4147-A177-3AD203B41FA5}">
                          <a16:colId xmlns:a16="http://schemas.microsoft.com/office/drawing/2014/main" val="3649519591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836011092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804624464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331071730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15122719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4025252401"/>
                        </a:ext>
                      </a:extLst>
                    </a:gridCol>
                  </a:tblGrid>
                  <a:tr h="354305">
                    <a:tc>
                      <a:txBody>
                        <a:bodyPr/>
                        <a:lstStyle/>
                        <a:p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3"/>
                          <a:stretch>
                            <a:fillRect l="-101183" t="-1724" r="-402959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3"/>
                          <a:stretch>
                            <a:fillRect l="-200000" t="-1724" r="-300588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3"/>
                          <a:stretch>
                            <a:fillRect l="-300000" t="-1724" r="-200588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3"/>
                          <a:stretch>
                            <a:fillRect l="-402367" t="-1724" r="-101775" b="-5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3"/>
                          <a:stretch>
                            <a:fillRect l="-499412" t="-1724" r="-1176" b="-55000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2117059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HRNe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37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59376041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Den-U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2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50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7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77396678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FIN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8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6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6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29178675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eFIN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4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82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5.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2.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.3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34617490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ViT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7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53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3.4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0.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12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4334908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Cross-Net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1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896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7.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24.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048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3643705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able 6">
                <a:extLst>
                  <a:ext uri="{FF2B5EF4-FFF2-40B4-BE49-F238E27FC236}">
                    <a16:creationId xmlns:a16="http://schemas.microsoft.com/office/drawing/2014/main" id="{562CE114-A570-6129-86BF-061B6ADC3E3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98885069"/>
                  </p:ext>
                </p:extLst>
              </p:nvPr>
            </p:nvGraphicFramePr>
            <p:xfrm>
              <a:off x="2642791" y="1249377"/>
              <a:ext cx="6199476" cy="129727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33246">
                      <a:extLst>
                        <a:ext uri="{9D8B030D-6E8A-4147-A177-3AD203B41FA5}">
                          <a16:colId xmlns:a16="http://schemas.microsoft.com/office/drawing/2014/main" val="3649519591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836011092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804624464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331071730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15122719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4025252401"/>
                        </a:ext>
                      </a:extLst>
                    </a:gridCol>
                  </a:tblGrid>
                  <a:tr h="354305">
                    <a:tc>
                      <a:txBody>
                        <a:bodyPr/>
                        <a:lstStyle/>
                        <a:p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𝑆𝑆𝐼𝑀</m:t>
                                    </m:r>
                                  </m:e>
                                  <m:sup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𝑆𝑆𝐼𝑀</m:t>
                                    </m:r>
                                  </m:e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el-GR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2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2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𝑆𝑁𝑅</m:t>
                                    </m:r>
                                  </m:e>
                                  <m:sup>
                                    <m:r>
                                      <a:rPr lang="en-US" sz="12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𝑆𝑁𝑅</m:t>
                                    </m:r>
                                  </m:e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el-GR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Φ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𝑧</m:t>
                                </m:r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_</m:t>
                                </m:r>
                                <m:r>
                                  <a:rPr kumimoji="1" lang="en-US" sz="1400" b="0" i="1" kern="120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𝑒𝑟𝑟𝑜𝑟</m:t>
                                </m:r>
                              </m:oMath>
                            </m:oMathPara>
                          </a14:m>
                          <a:endParaRPr kumimoji="1" lang="en-US" sz="1400" b="0" i="1" kern="12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2117059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FIN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91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90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33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31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29178675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eFIN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5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4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6.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5.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41.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34617490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Cross-Net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3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2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34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32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82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364370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Table 6">
                <a:extLst>
                  <a:ext uri="{FF2B5EF4-FFF2-40B4-BE49-F238E27FC236}">
                    <a16:creationId xmlns:a16="http://schemas.microsoft.com/office/drawing/2014/main" id="{562CE114-A570-6129-86BF-061B6ADC3E3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98885069"/>
                  </p:ext>
                </p:extLst>
              </p:nvPr>
            </p:nvGraphicFramePr>
            <p:xfrm>
              <a:off x="2642791" y="1249377"/>
              <a:ext cx="6199476" cy="129727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33246">
                      <a:extLst>
                        <a:ext uri="{9D8B030D-6E8A-4147-A177-3AD203B41FA5}">
                          <a16:colId xmlns:a16="http://schemas.microsoft.com/office/drawing/2014/main" val="3649519591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836011092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804624464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331071730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2151227198"/>
                        </a:ext>
                      </a:extLst>
                    </a:gridCol>
                    <a:gridCol w="1033246">
                      <a:extLst>
                        <a:ext uri="{9D8B030D-6E8A-4147-A177-3AD203B41FA5}">
                          <a16:colId xmlns:a16="http://schemas.microsoft.com/office/drawing/2014/main" val="4025252401"/>
                        </a:ext>
                      </a:extLst>
                    </a:gridCol>
                  </a:tblGrid>
                  <a:tr h="354305">
                    <a:tc>
                      <a:txBody>
                        <a:bodyPr/>
                        <a:lstStyle/>
                        <a:p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101183" t="-1724" r="-402959" b="-28448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200000" t="-1724" r="-300588" b="-28448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300000" t="-1724" r="-200588" b="-28448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402367" t="-1724" r="-101775" b="-28448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499412" t="-1724" r="-1176" b="-28448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21170596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FIN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91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908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33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31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-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29178675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 err="1"/>
                            <a:t>eFIN</a:t>
                          </a:r>
                          <a:endParaRPr lang="en-US" sz="14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5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0.74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6.9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25.0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41.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34617490"/>
                      </a:ext>
                    </a:extLst>
                  </a:tr>
                  <a:tr h="314323"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Cross-Net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35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927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34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32.2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0.821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3643705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A0DD9F40-92FD-6F4C-9219-D0CE94D29B87}"/>
              </a:ext>
            </a:extLst>
          </p:cNvPr>
          <p:cNvSpPr txBox="1"/>
          <p:nvPr/>
        </p:nvSpPr>
        <p:spPr>
          <a:xfrm>
            <a:off x="9051503" y="2332442"/>
            <a:ext cx="3060769" cy="9257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Cross-Net has Very good external generalization</a:t>
            </a:r>
          </a:p>
        </p:txBody>
      </p:sp>
    </p:spTree>
    <p:extLst>
      <p:ext uri="{BB962C8B-B14F-4D97-AF65-F5344CB8AC3E}">
        <p14:creationId xmlns:p14="http://schemas.microsoft.com/office/powerpoint/2010/main" val="5806966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age of different images of a rock&#10;&#10;Description automatically generated with medium confidence">
            <a:extLst>
              <a:ext uri="{FF2B5EF4-FFF2-40B4-BE49-F238E27FC236}">
                <a16:creationId xmlns:a16="http://schemas.microsoft.com/office/drawing/2014/main" id="{4D8B1698-2E38-900D-2C69-099CE45C36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785" y="826436"/>
            <a:ext cx="10563670" cy="528183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6527" y="149868"/>
            <a:ext cx="9050555" cy="430759"/>
          </a:xfrm>
        </p:spPr>
        <p:txBody>
          <a:bodyPr/>
          <a:lstStyle/>
          <a:p>
            <a:r>
              <a:rPr lang="en-US" dirty="0"/>
              <a:t>Experiment result: External generalization s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499219" y="6123835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10148007" y="2374435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850288" y="2437500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10043015" y="4419458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830542" y="6092707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9FC0F8-F226-632E-DF20-B617ED8DA594}"/>
              </a:ext>
            </a:extLst>
          </p:cNvPr>
          <p:cNvSpPr/>
          <p:nvPr/>
        </p:nvSpPr>
        <p:spPr>
          <a:xfrm>
            <a:off x="10090843" y="2699933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96813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llage of images of a person's body&#10;&#10;Description automatically generated">
            <a:extLst>
              <a:ext uri="{FF2B5EF4-FFF2-40B4-BE49-F238E27FC236}">
                <a16:creationId xmlns:a16="http://schemas.microsoft.com/office/drawing/2014/main" id="{CFCEE6F4-0FF2-96D2-E614-9FD8552916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47" y="970720"/>
            <a:ext cx="10328180" cy="51640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235079" y="6096960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Zoom 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9743078" y="2547526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9627567" y="6248115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02FDF3-EA89-B6A5-D0D0-5BAE6ECC8A80}"/>
              </a:ext>
            </a:extLst>
          </p:cNvPr>
          <p:cNvSpPr/>
          <p:nvPr/>
        </p:nvSpPr>
        <p:spPr>
          <a:xfrm>
            <a:off x="1057345" y="970720"/>
            <a:ext cx="10480398" cy="526659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7F0AD07-26FA-661F-FC26-F1F9BF594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527" y="149868"/>
            <a:ext cx="9050555" cy="430759"/>
          </a:xfrm>
        </p:spPr>
        <p:txBody>
          <a:bodyPr/>
          <a:lstStyle/>
          <a:p>
            <a:r>
              <a:rPr lang="en-US" dirty="0"/>
              <a:t>Experiment result: External generalization sample</a:t>
            </a:r>
          </a:p>
        </p:txBody>
      </p:sp>
    </p:spTree>
    <p:extLst>
      <p:ext uri="{BB962C8B-B14F-4D97-AF65-F5344CB8AC3E}">
        <p14:creationId xmlns:p14="http://schemas.microsoft.com/office/powerpoint/2010/main" val="16693407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499219" y="6123835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oss-Ne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BA3E8-147A-00DA-C1FC-65B71650B83F}"/>
              </a:ext>
            </a:extLst>
          </p:cNvPr>
          <p:cNvSpPr/>
          <p:nvPr/>
        </p:nvSpPr>
        <p:spPr>
          <a:xfrm>
            <a:off x="10148007" y="2374435"/>
            <a:ext cx="1346448" cy="221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25013-7267-E7A1-8F79-FC7D2761417D}"/>
              </a:ext>
            </a:extLst>
          </p:cNvPr>
          <p:cNvSpPr txBox="1"/>
          <p:nvPr/>
        </p:nvSpPr>
        <p:spPr>
          <a:xfrm>
            <a:off x="9959271" y="2251612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B7FF1-0AC0-97F6-1A4F-9B01EE45539D}"/>
              </a:ext>
            </a:extLst>
          </p:cNvPr>
          <p:cNvSpPr txBox="1"/>
          <p:nvPr/>
        </p:nvSpPr>
        <p:spPr>
          <a:xfrm rot="16200000">
            <a:off x="325244" y="1523759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126D7-2AAA-1084-FBAE-8EE28C84C041}"/>
              </a:ext>
            </a:extLst>
          </p:cNvPr>
          <p:cNvSpPr txBox="1"/>
          <p:nvPr/>
        </p:nvSpPr>
        <p:spPr>
          <a:xfrm rot="16200000">
            <a:off x="-141290" y="31168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D41FC-5AFF-C9C6-9128-86AF3CDF100D}"/>
              </a:ext>
            </a:extLst>
          </p:cNvPr>
          <p:cNvSpPr/>
          <p:nvPr/>
        </p:nvSpPr>
        <p:spPr>
          <a:xfrm>
            <a:off x="10043015" y="4284459"/>
            <a:ext cx="1137544" cy="110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EB5B90-9D1E-C9C9-4465-13A448B53D5E}"/>
              </a:ext>
            </a:extLst>
          </p:cNvPr>
          <p:cNvSpPr txBox="1"/>
          <p:nvPr/>
        </p:nvSpPr>
        <p:spPr>
          <a:xfrm>
            <a:off x="9830542" y="6092707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41D325-9839-9E85-B717-0B284983F8AD}"/>
              </a:ext>
            </a:extLst>
          </p:cNvPr>
          <p:cNvSpPr txBox="1"/>
          <p:nvPr/>
        </p:nvSpPr>
        <p:spPr>
          <a:xfrm rot="16200000">
            <a:off x="-141290" y="4838493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F13E5EB-013B-7E41-8DCB-9B1B01556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527" y="149868"/>
            <a:ext cx="9050555" cy="430759"/>
          </a:xfrm>
        </p:spPr>
        <p:txBody>
          <a:bodyPr/>
          <a:lstStyle/>
          <a:p>
            <a:r>
              <a:rPr lang="en-US" dirty="0"/>
              <a:t>Experiment result: External generalization sample</a:t>
            </a:r>
          </a:p>
        </p:txBody>
      </p:sp>
      <p:pic>
        <p:nvPicPr>
          <p:cNvPr id="12" name="Picture 11" descr="A collage of images of a variety of textures&#10;&#10;Description automatically generated with medium confidence">
            <a:extLst>
              <a:ext uri="{FF2B5EF4-FFF2-40B4-BE49-F238E27FC236}">
                <a16:creationId xmlns:a16="http://schemas.microsoft.com/office/drawing/2014/main" id="{195C0F76-F9A6-F854-0F3D-9A7525D0D5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62" y="1149199"/>
            <a:ext cx="9699576" cy="48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417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llage of images of a human brain&#10;&#10;Description automatically generated">
            <a:extLst>
              <a:ext uri="{FF2B5EF4-FFF2-40B4-BE49-F238E27FC236}">
                <a16:creationId xmlns:a16="http://schemas.microsoft.com/office/drawing/2014/main" id="{F223DACD-04ED-06D2-448A-19A936AA80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378" y="1070422"/>
            <a:ext cx="9982243" cy="49911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48E565-6FF7-E6D0-46E6-6445C8BCF1DA}"/>
              </a:ext>
            </a:extLst>
          </p:cNvPr>
          <p:cNvSpPr txBox="1"/>
          <p:nvPr/>
        </p:nvSpPr>
        <p:spPr>
          <a:xfrm>
            <a:off x="5235079" y="6096960"/>
            <a:ext cx="5112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oss-Net  Zoom 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5C8D7-27FE-545C-CF35-DA93F6CC55B1}"/>
              </a:ext>
            </a:extLst>
          </p:cNvPr>
          <p:cNvSpPr txBox="1"/>
          <p:nvPr/>
        </p:nvSpPr>
        <p:spPr>
          <a:xfrm rot="16200000">
            <a:off x="553288" y="1384198"/>
            <a:ext cx="1008112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Holo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817A52-72FF-7ECF-CB52-E90076EF327D}"/>
              </a:ext>
            </a:extLst>
          </p:cNvPr>
          <p:cNvSpPr txBox="1"/>
          <p:nvPr/>
        </p:nvSpPr>
        <p:spPr>
          <a:xfrm rot="16200000">
            <a:off x="96733" y="3089384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A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8A7AD-6A89-13BD-0BF4-9F9FBBBBB5AA}"/>
              </a:ext>
            </a:extLst>
          </p:cNvPr>
          <p:cNvSpPr txBox="1"/>
          <p:nvPr/>
        </p:nvSpPr>
        <p:spPr>
          <a:xfrm rot="16200000">
            <a:off x="129484" y="4821002"/>
            <a:ext cx="1531311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69FFA2-6470-4ACE-09B9-801B14E8ADAF}"/>
              </a:ext>
            </a:extLst>
          </p:cNvPr>
          <p:cNvSpPr txBox="1"/>
          <p:nvPr/>
        </p:nvSpPr>
        <p:spPr>
          <a:xfrm>
            <a:off x="9699575" y="2547526"/>
            <a:ext cx="2185644" cy="46680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E21876-67F2-8293-D66D-FF99FC9AD536}"/>
              </a:ext>
            </a:extLst>
          </p:cNvPr>
          <p:cNvSpPr txBox="1"/>
          <p:nvPr/>
        </p:nvSpPr>
        <p:spPr>
          <a:xfrm>
            <a:off x="9699575" y="6238416"/>
            <a:ext cx="1766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/>
              <a:t>Target Pha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02FDF3-EA89-B6A5-D0D0-5BAE6ECC8A80}"/>
              </a:ext>
            </a:extLst>
          </p:cNvPr>
          <p:cNvSpPr/>
          <p:nvPr/>
        </p:nvSpPr>
        <p:spPr>
          <a:xfrm>
            <a:off x="1057345" y="970720"/>
            <a:ext cx="10480398" cy="526659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3AD0457-FE74-EC47-9192-BF4A31B3E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527" y="149868"/>
            <a:ext cx="9050555" cy="430759"/>
          </a:xfrm>
        </p:spPr>
        <p:txBody>
          <a:bodyPr/>
          <a:lstStyle/>
          <a:p>
            <a:r>
              <a:rPr lang="en-US" dirty="0"/>
              <a:t>Experiment result: External generalization sample</a:t>
            </a:r>
          </a:p>
        </p:txBody>
      </p:sp>
    </p:spTree>
    <p:extLst>
      <p:ext uri="{BB962C8B-B14F-4D97-AF65-F5344CB8AC3E}">
        <p14:creationId xmlns:p14="http://schemas.microsoft.com/office/powerpoint/2010/main" val="1986495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0003" y="76615"/>
            <a:ext cx="5124801" cy="423193"/>
          </a:xfrm>
        </p:spPr>
        <p:txBody>
          <a:bodyPr/>
          <a:lstStyle/>
          <a:p>
            <a:r>
              <a:rPr lang="en-US" sz="2750" dirty="0">
                <a:latin typeface="Tahoma"/>
                <a:ea typeface="ＭＳ Ｐゴシック"/>
                <a:cs typeface="Tahoma"/>
              </a:rPr>
              <a:t>In-Line Holographic Imaging</a:t>
            </a:r>
          </a:p>
        </p:txBody>
      </p:sp>
      <p:sp>
        <p:nvSpPr>
          <p:cNvPr id="83" name="TextBox 22">
            <a:extLst>
              <a:ext uri="{FF2B5EF4-FFF2-40B4-BE49-F238E27FC236}">
                <a16:creationId xmlns:a16="http://schemas.microsoft.com/office/drawing/2014/main" id="{443C3C84-F343-4D59-D02C-7C7EA72AA026}"/>
              </a:ext>
            </a:extLst>
          </p:cNvPr>
          <p:cNvSpPr txBox="1"/>
          <p:nvPr/>
        </p:nvSpPr>
        <p:spPr>
          <a:xfrm>
            <a:off x="7464610" y="1564097"/>
            <a:ext cx="12814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Sensor</a:t>
            </a:r>
            <a:endParaRPr lang="en-US" sz="1400" dirty="0"/>
          </a:p>
        </p:txBody>
      </p:sp>
      <p:sp>
        <p:nvSpPr>
          <p:cNvPr id="84" name="TextBox 23">
            <a:extLst>
              <a:ext uri="{FF2B5EF4-FFF2-40B4-BE49-F238E27FC236}">
                <a16:creationId xmlns:a16="http://schemas.microsoft.com/office/drawing/2014/main" id="{E51A4542-DE64-7C49-71E9-4743A57B6076}"/>
              </a:ext>
            </a:extLst>
          </p:cNvPr>
          <p:cNvSpPr txBox="1"/>
          <p:nvPr/>
        </p:nvSpPr>
        <p:spPr>
          <a:xfrm>
            <a:off x="5097798" y="2195490"/>
            <a:ext cx="1996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Unscattered wave</a:t>
            </a:r>
            <a:endParaRPr lang="en-US" sz="1400" dirty="0"/>
          </a:p>
        </p:txBody>
      </p:sp>
      <p:sp>
        <p:nvSpPr>
          <p:cNvPr id="85" name="TextBox 28">
            <a:extLst>
              <a:ext uri="{FF2B5EF4-FFF2-40B4-BE49-F238E27FC236}">
                <a16:creationId xmlns:a16="http://schemas.microsoft.com/office/drawing/2014/main" id="{10BE382A-027C-FB21-C6BC-C9988DDA6ED8}"/>
              </a:ext>
            </a:extLst>
          </p:cNvPr>
          <p:cNvSpPr txBox="1"/>
          <p:nvPr/>
        </p:nvSpPr>
        <p:spPr>
          <a:xfrm>
            <a:off x="3712740" y="1800857"/>
            <a:ext cx="12814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Object</a:t>
            </a:r>
            <a:endParaRPr lang="en-US" sz="1400" dirty="0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6C19D874-AB1B-24D9-5D54-D9EBED563CC1}"/>
              </a:ext>
            </a:extLst>
          </p:cNvPr>
          <p:cNvCxnSpPr>
            <a:cxnSpLocks/>
          </p:cNvCxnSpPr>
          <p:nvPr/>
        </p:nvCxnSpPr>
        <p:spPr>
          <a:xfrm>
            <a:off x="8166394" y="1846404"/>
            <a:ext cx="0" cy="285282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7" name="TextBox 47">
            <a:extLst>
              <a:ext uri="{FF2B5EF4-FFF2-40B4-BE49-F238E27FC236}">
                <a16:creationId xmlns:a16="http://schemas.microsoft.com/office/drawing/2014/main" id="{A3737C22-1662-1A4C-EA9B-317B0F615DA5}"/>
              </a:ext>
            </a:extLst>
          </p:cNvPr>
          <p:cNvSpPr txBox="1"/>
          <p:nvPr/>
        </p:nvSpPr>
        <p:spPr>
          <a:xfrm>
            <a:off x="1760584" y="2145904"/>
            <a:ext cx="17097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Illumination wave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Box 49">
                <a:extLst>
                  <a:ext uri="{FF2B5EF4-FFF2-40B4-BE49-F238E27FC236}">
                    <a16:creationId xmlns:a16="http://schemas.microsoft.com/office/drawing/2014/main" id="{14938FA8-66A4-4A38-B305-336167B7890A}"/>
                  </a:ext>
                </a:extLst>
              </p:cNvPr>
              <p:cNvSpPr txBox="1"/>
              <p:nvPr/>
            </p:nvSpPr>
            <p:spPr>
              <a:xfrm>
                <a:off x="1989655" y="3891858"/>
                <a:ext cx="65306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88" name="TextBox 49">
                <a:extLst>
                  <a:ext uri="{FF2B5EF4-FFF2-40B4-BE49-F238E27FC236}">
                    <a16:creationId xmlns:a16="http://schemas.microsoft.com/office/drawing/2014/main" id="{14938FA8-66A4-4A38-B305-336167B789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655" y="3891858"/>
                <a:ext cx="653064" cy="307777"/>
              </a:xfrm>
              <a:prstGeom prst="rect">
                <a:avLst/>
              </a:prstGeom>
              <a:blipFill>
                <a:blip r:embed="rId2"/>
                <a:stretch>
                  <a:fillRect l="-7407" r="-12037" b="-372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50">
                <a:extLst>
                  <a:ext uri="{FF2B5EF4-FFF2-40B4-BE49-F238E27FC236}">
                    <a16:creationId xmlns:a16="http://schemas.microsoft.com/office/drawing/2014/main" id="{08975B5E-CA3B-B69A-8B10-66C261B492AE}"/>
                  </a:ext>
                </a:extLst>
              </p:cNvPr>
              <p:cNvSpPr txBox="1"/>
              <p:nvPr/>
            </p:nvSpPr>
            <p:spPr>
              <a:xfrm>
                <a:off x="4019364" y="4283567"/>
                <a:ext cx="592213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𝑈</m:t>
                      </m:r>
                      <m:d>
                        <m:d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89" name="TextBox 50">
                <a:extLst>
                  <a:ext uri="{FF2B5EF4-FFF2-40B4-BE49-F238E27FC236}">
                    <a16:creationId xmlns:a16="http://schemas.microsoft.com/office/drawing/2014/main" id="{08975B5E-CA3B-B69A-8B10-66C261B492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9364" y="4283567"/>
                <a:ext cx="592213" cy="307777"/>
              </a:xfrm>
              <a:prstGeom prst="rect">
                <a:avLst/>
              </a:prstGeom>
              <a:blipFill>
                <a:blip r:embed="rId3"/>
                <a:stretch>
                  <a:fillRect l="-8247"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Parallelogram 89">
            <a:extLst>
              <a:ext uri="{FF2B5EF4-FFF2-40B4-BE49-F238E27FC236}">
                <a16:creationId xmlns:a16="http://schemas.microsoft.com/office/drawing/2014/main" id="{B0A21188-A5D4-AB10-E24A-21BB36F8E10B}"/>
              </a:ext>
            </a:extLst>
          </p:cNvPr>
          <p:cNvSpPr/>
          <p:nvPr/>
        </p:nvSpPr>
        <p:spPr>
          <a:xfrm rot="20456541">
            <a:off x="3348704" y="2253189"/>
            <a:ext cx="1830786" cy="1839161"/>
          </a:xfrm>
          <a:prstGeom prst="parallelogram">
            <a:avLst>
              <a:gd name="adj" fmla="val 37486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91" name="Graphic 59" descr="Apple with solid fill">
            <a:extLst>
              <a:ext uri="{FF2B5EF4-FFF2-40B4-BE49-F238E27FC236}">
                <a16:creationId xmlns:a16="http://schemas.microsoft.com/office/drawing/2014/main" id="{A1969C80-5EAE-B85D-0F3A-8963D4DA91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41438" y="2697033"/>
            <a:ext cx="914400" cy="914400"/>
          </a:xfrm>
          <a:prstGeom prst="rect">
            <a:avLst/>
          </a:prstGeom>
        </p:spPr>
      </p:pic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DE770EF5-5F68-BD89-81D7-44B834098B69}"/>
              </a:ext>
            </a:extLst>
          </p:cNvPr>
          <p:cNvCxnSpPr>
            <a:cxnSpLocks/>
            <a:endCxn id="90" idx="1"/>
          </p:cNvCxnSpPr>
          <p:nvPr/>
        </p:nvCxnSpPr>
        <p:spPr>
          <a:xfrm flipV="1">
            <a:off x="1511623" y="2191548"/>
            <a:ext cx="2776550" cy="105692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CA2C7EB-2349-AE86-3C28-BEF8FE20183C}"/>
              </a:ext>
            </a:extLst>
          </p:cNvPr>
          <p:cNvCxnSpPr>
            <a:cxnSpLocks/>
            <a:endCxn id="90" idx="3"/>
          </p:cNvCxnSpPr>
          <p:nvPr/>
        </p:nvCxnSpPr>
        <p:spPr>
          <a:xfrm>
            <a:off x="1511623" y="3248468"/>
            <a:ext cx="2728398" cy="90552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126C9C9-B343-3E25-D202-8F159732A44E}"/>
              </a:ext>
            </a:extLst>
          </p:cNvPr>
          <p:cNvCxnSpPr>
            <a:cxnSpLocks/>
            <a:stCxn id="90" idx="1"/>
          </p:cNvCxnSpPr>
          <p:nvPr/>
        </p:nvCxnSpPr>
        <p:spPr>
          <a:xfrm>
            <a:off x="4288173" y="2191548"/>
            <a:ext cx="387819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42DDF8A-FB7A-73BF-F0F1-7A8996B5A940}"/>
              </a:ext>
            </a:extLst>
          </p:cNvPr>
          <p:cNvCxnSpPr>
            <a:cxnSpLocks/>
            <a:stCxn id="90" idx="3"/>
          </p:cNvCxnSpPr>
          <p:nvPr/>
        </p:nvCxnSpPr>
        <p:spPr>
          <a:xfrm>
            <a:off x="4240021" y="4153991"/>
            <a:ext cx="3926373" cy="3102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B65F81E-17A1-0F54-F4D9-291E853AECB4}"/>
              </a:ext>
            </a:extLst>
          </p:cNvPr>
          <p:cNvCxnSpPr>
            <a:cxnSpLocks/>
          </p:cNvCxnSpPr>
          <p:nvPr/>
        </p:nvCxnSpPr>
        <p:spPr>
          <a:xfrm>
            <a:off x="4445891" y="3233352"/>
            <a:ext cx="3720480" cy="936152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524CEDFC-4EDA-5B61-2A32-8EE9B113B4D8}"/>
              </a:ext>
            </a:extLst>
          </p:cNvPr>
          <p:cNvCxnSpPr>
            <a:cxnSpLocks/>
          </p:cNvCxnSpPr>
          <p:nvPr/>
        </p:nvCxnSpPr>
        <p:spPr>
          <a:xfrm flipV="1">
            <a:off x="4445891" y="2195490"/>
            <a:ext cx="3720480" cy="1037862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TextBox 79">
            <a:extLst>
              <a:ext uri="{FF2B5EF4-FFF2-40B4-BE49-F238E27FC236}">
                <a16:creationId xmlns:a16="http://schemas.microsoft.com/office/drawing/2014/main" id="{2A5715D0-A111-5487-C693-8AF2E0A1C1FD}"/>
              </a:ext>
            </a:extLst>
          </p:cNvPr>
          <p:cNvSpPr txBox="1"/>
          <p:nvPr/>
        </p:nvSpPr>
        <p:spPr>
          <a:xfrm>
            <a:off x="6025270" y="2938810"/>
            <a:ext cx="1996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Scattered wave</a:t>
            </a:r>
            <a:endParaRPr lang="en-US" sz="1400" dirty="0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8F13C09-3C70-FBB0-312A-D6D08BA578C5}"/>
              </a:ext>
            </a:extLst>
          </p:cNvPr>
          <p:cNvGrpSpPr/>
          <p:nvPr/>
        </p:nvGrpSpPr>
        <p:grpSpPr>
          <a:xfrm>
            <a:off x="112085" y="1700265"/>
            <a:ext cx="8584490" cy="3924803"/>
            <a:chOff x="1509232" y="2190048"/>
            <a:chExt cx="8584490" cy="3924803"/>
          </a:xfrm>
        </p:grpSpPr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E40658A0-F3D5-3B19-3B6F-E22843475CBB}"/>
                </a:ext>
              </a:extLst>
            </p:cNvPr>
            <p:cNvCxnSpPr>
              <a:cxnSpLocks/>
              <a:stCxn id="110" idx="0"/>
            </p:cNvCxnSpPr>
            <p:nvPr/>
          </p:nvCxnSpPr>
          <p:spPr>
            <a:xfrm flipV="1">
              <a:off x="1867138" y="2292637"/>
              <a:ext cx="0" cy="3283739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4495BFA4-510C-C0BA-092D-B62B72B5D44D}"/>
                </a:ext>
              </a:extLst>
            </p:cNvPr>
            <p:cNvCxnSpPr>
              <a:cxnSpLocks/>
              <a:stCxn id="110" idx="3"/>
            </p:cNvCxnSpPr>
            <p:nvPr/>
          </p:nvCxnSpPr>
          <p:spPr>
            <a:xfrm flipV="1">
              <a:off x="1999386" y="5706187"/>
              <a:ext cx="8094336" cy="8689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7" name="TextBox 11">
                  <a:extLst>
                    <a:ext uri="{FF2B5EF4-FFF2-40B4-BE49-F238E27FC236}">
                      <a16:creationId xmlns:a16="http://schemas.microsoft.com/office/drawing/2014/main" id="{576D680C-B7C7-3B83-55E6-2FC0675AC61F}"/>
                    </a:ext>
                  </a:extLst>
                </p:cNvPr>
                <p:cNvSpPr txBox="1"/>
                <p:nvPr/>
              </p:nvSpPr>
              <p:spPr>
                <a:xfrm>
                  <a:off x="1509232" y="2190048"/>
                  <a:ext cx="257763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0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51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02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54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605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756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907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058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209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24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7" name="TextBox 11">
                  <a:extLst>
                    <a:ext uri="{FF2B5EF4-FFF2-40B4-BE49-F238E27FC236}">
                      <a16:creationId xmlns:a16="http://schemas.microsoft.com/office/drawing/2014/main" id="{576D680C-B7C7-3B83-55E6-2FC0675AC61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09232" y="2190048"/>
                  <a:ext cx="257763" cy="369332"/>
                </a:xfrm>
                <a:prstGeom prst="rect">
                  <a:avLst/>
                </a:prstGeom>
                <a:blipFill>
                  <a:blip r:embed="rId6"/>
                  <a:stretch>
                    <a:fillRect l="-11628" r="-930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8" name="TextBox 12">
                  <a:extLst>
                    <a:ext uri="{FF2B5EF4-FFF2-40B4-BE49-F238E27FC236}">
                      <a16:creationId xmlns:a16="http://schemas.microsoft.com/office/drawing/2014/main" id="{E8618EB9-41A6-F2A7-BD1E-F7CD53744809}"/>
                    </a:ext>
                  </a:extLst>
                </p:cNvPr>
                <p:cNvSpPr txBox="1"/>
                <p:nvPr/>
              </p:nvSpPr>
              <p:spPr>
                <a:xfrm>
                  <a:off x="9854426" y="5706187"/>
                  <a:ext cx="239296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0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51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02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54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605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756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907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058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209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24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𝑧</m:t>
                        </m:r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8" name="TextBox 12">
                  <a:extLst>
                    <a:ext uri="{FF2B5EF4-FFF2-40B4-BE49-F238E27FC236}">
                      <a16:creationId xmlns:a16="http://schemas.microsoft.com/office/drawing/2014/main" id="{E8618EB9-41A6-F2A7-BD1E-F7CD5374480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854426" y="5706187"/>
                  <a:ext cx="239296" cy="369332"/>
                </a:xfrm>
                <a:prstGeom prst="rect">
                  <a:avLst/>
                </a:prstGeom>
                <a:blipFill>
                  <a:blip r:embed="rId7"/>
                  <a:stretch>
                    <a:fillRect l="-12500" r="-10000" b="-1667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9" name="TextBox 13">
                  <a:extLst>
                    <a:ext uri="{FF2B5EF4-FFF2-40B4-BE49-F238E27FC236}">
                      <a16:creationId xmlns:a16="http://schemas.microsoft.com/office/drawing/2014/main" id="{4F9DC0E9-75F2-0D24-ACB6-AB3C6F0BA5FB}"/>
                    </a:ext>
                  </a:extLst>
                </p:cNvPr>
                <p:cNvSpPr txBox="1"/>
                <p:nvPr/>
              </p:nvSpPr>
              <p:spPr>
                <a:xfrm>
                  <a:off x="1628809" y="5745519"/>
                  <a:ext cx="261738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0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51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02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54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605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756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907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058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209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24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9" name="TextBox 13">
                  <a:extLst>
                    <a:ext uri="{FF2B5EF4-FFF2-40B4-BE49-F238E27FC236}">
                      <a16:creationId xmlns:a16="http://schemas.microsoft.com/office/drawing/2014/main" id="{4F9DC0E9-75F2-0D24-ACB6-AB3C6F0BA5F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8809" y="5745519"/>
                  <a:ext cx="261738" cy="369332"/>
                </a:xfrm>
                <a:prstGeom prst="rect">
                  <a:avLst/>
                </a:prstGeom>
                <a:blipFill>
                  <a:blip r:embed="rId8"/>
                  <a:stretch>
                    <a:fillRect l="-25581" r="-23256" b="-27869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0" name="TextBox 14">
                  <a:extLst>
                    <a:ext uri="{FF2B5EF4-FFF2-40B4-BE49-F238E27FC236}">
                      <a16:creationId xmlns:a16="http://schemas.microsoft.com/office/drawing/2014/main" id="{C135970C-52EC-DBF3-9CDC-3062B682B8BA}"/>
                    </a:ext>
                  </a:extLst>
                </p:cNvPr>
                <p:cNvSpPr txBox="1"/>
                <p:nvPr/>
              </p:nvSpPr>
              <p:spPr>
                <a:xfrm>
                  <a:off x="1734890" y="5576376"/>
                  <a:ext cx="264496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0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51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02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54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605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756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907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058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209" algn="l" defTabSz="91430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>
                            <a:solidFill>
                              <a:srgbClr val="A4A4A4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⨂</m:t>
                        </m:r>
                      </m:oMath>
                    </m:oMathPara>
                  </a14:m>
                  <a:endParaRPr lang="en-US" dirty="0">
                    <a:solidFill>
                      <a:srgbClr val="A4A4A4"/>
                    </a:solidFill>
                  </a:endParaRPr>
                </a:p>
              </p:txBody>
            </p:sp>
          </mc:Choice>
          <mc:Fallback xmlns="">
            <p:sp>
              <p:nvSpPr>
                <p:cNvPr id="110" name="TextBox 14">
                  <a:extLst>
                    <a:ext uri="{FF2B5EF4-FFF2-40B4-BE49-F238E27FC236}">
                      <a16:creationId xmlns:a16="http://schemas.microsoft.com/office/drawing/2014/main" id="{C135970C-52EC-DBF3-9CDC-3062B682B8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34890" y="5576376"/>
                  <a:ext cx="264496" cy="276999"/>
                </a:xfrm>
                <a:prstGeom prst="rect">
                  <a:avLst/>
                </a:prstGeom>
                <a:blipFill>
                  <a:blip r:embed="rId9"/>
                  <a:stretch>
                    <a:fillRect l="-22727" r="-20455" b="-19565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0" name="TextBox 15">
                <a:extLst>
                  <a:ext uri="{FF2B5EF4-FFF2-40B4-BE49-F238E27FC236}">
                    <a16:creationId xmlns:a16="http://schemas.microsoft.com/office/drawing/2014/main" id="{92881284-D1F1-2205-91C9-E988554177D9}"/>
                  </a:ext>
                </a:extLst>
              </p:cNvPr>
              <p:cNvSpPr txBox="1"/>
              <p:nvPr/>
            </p:nvSpPr>
            <p:spPr>
              <a:xfrm>
                <a:off x="474784" y="4844657"/>
                <a:ext cx="153939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=(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0" name="TextBox 15">
                <a:extLst>
                  <a:ext uri="{FF2B5EF4-FFF2-40B4-BE49-F238E27FC236}">
                    <a16:creationId xmlns:a16="http://schemas.microsoft.com/office/drawing/2014/main" id="{92881284-D1F1-2205-91C9-E988554177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784" y="4844657"/>
                <a:ext cx="1539393" cy="369332"/>
              </a:xfrm>
              <a:prstGeom prst="rect">
                <a:avLst/>
              </a:prstGeom>
              <a:blipFill>
                <a:blip r:embed="rId10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1" name="TextBox 6">
            <a:extLst>
              <a:ext uri="{FF2B5EF4-FFF2-40B4-BE49-F238E27FC236}">
                <a16:creationId xmlns:a16="http://schemas.microsoft.com/office/drawing/2014/main" id="{A792F83A-E09E-F4C6-6660-911FB2737643}"/>
              </a:ext>
            </a:extLst>
          </p:cNvPr>
          <p:cNvSpPr txBox="1"/>
          <p:nvPr/>
        </p:nvSpPr>
        <p:spPr>
          <a:xfrm>
            <a:off x="483046" y="2345800"/>
            <a:ext cx="12814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Coherent light source</a:t>
            </a:r>
            <a:endParaRPr lang="en-US" sz="1400" dirty="0"/>
          </a:p>
        </p:txBody>
      </p:sp>
      <p:pic>
        <p:nvPicPr>
          <p:cNvPr id="102" name="Graphic 16" descr="Lightbulb outline">
            <a:extLst>
              <a:ext uri="{FF2B5EF4-FFF2-40B4-BE49-F238E27FC236}">
                <a16:creationId xmlns:a16="http://schemas.microsoft.com/office/drawing/2014/main" id="{9536F0B9-9B62-67B0-6A68-A8A050935E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0385" y="2817306"/>
            <a:ext cx="914400" cy="9144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Box 18">
                <a:extLst>
                  <a:ext uri="{FF2B5EF4-FFF2-40B4-BE49-F238E27FC236}">
                    <a16:creationId xmlns:a16="http://schemas.microsoft.com/office/drawing/2014/main" id="{56F05209-E890-ED16-791E-270E6651586C}"/>
                  </a:ext>
                </a:extLst>
              </p:cNvPr>
              <p:cNvSpPr txBox="1"/>
              <p:nvPr/>
            </p:nvSpPr>
            <p:spPr>
              <a:xfrm>
                <a:off x="3984158" y="3004387"/>
                <a:ext cx="58314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3" name="TextBox 18">
                <a:extLst>
                  <a:ext uri="{FF2B5EF4-FFF2-40B4-BE49-F238E27FC236}">
                    <a16:creationId xmlns:a16="http://schemas.microsoft.com/office/drawing/2014/main" id="{56F05209-E890-ED16-791E-270E665158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4158" y="3004387"/>
                <a:ext cx="583145" cy="369332"/>
              </a:xfrm>
              <a:prstGeom prst="rect">
                <a:avLst/>
              </a:prstGeom>
              <a:blipFill>
                <a:blip r:embed="rId13"/>
                <a:stretch>
                  <a:fillRect r="-4211" b="-1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Box 20">
                <a:extLst>
                  <a:ext uri="{FF2B5EF4-FFF2-40B4-BE49-F238E27FC236}">
                    <a16:creationId xmlns:a16="http://schemas.microsoft.com/office/drawing/2014/main" id="{C115451E-F50C-9A27-DDAD-D3537FBCD224}"/>
                  </a:ext>
                </a:extLst>
              </p:cNvPr>
              <p:cNvSpPr txBox="1"/>
              <p:nvPr/>
            </p:nvSpPr>
            <p:spPr>
              <a:xfrm>
                <a:off x="3821012" y="2422190"/>
                <a:ext cx="33418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4" name="TextBox 20">
                <a:extLst>
                  <a:ext uri="{FF2B5EF4-FFF2-40B4-BE49-F238E27FC236}">
                    <a16:creationId xmlns:a16="http://schemas.microsoft.com/office/drawing/2014/main" id="{C115451E-F50C-9A27-DDAD-D3537FBCD2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1012" y="2422190"/>
                <a:ext cx="334184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1" name="Content Placeholder 2">
            <a:extLst>
              <a:ext uri="{FF2B5EF4-FFF2-40B4-BE49-F238E27FC236}">
                <a16:creationId xmlns:a16="http://schemas.microsoft.com/office/drawing/2014/main" id="{1C82E36F-1547-01C6-8007-21F44E0DA8E7}"/>
              </a:ext>
            </a:extLst>
          </p:cNvPr>
          <p:cNvSpPr>
            <a:spLocks noGrp="1"/>
          </p:cNvSpPr>
          <p:nvPr/>
        </p:nvSpPr>
        <p:spPr>
          <a:xfrm>
            <a:off x="147747" y="682715"/>
            <a:ext cx="11201102" cy="11980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2" indent="-228592" algn="l" defTabSz="914369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4" indent="-228592" algn="l" defTabSz="914369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776" indent="-228592" algn="l" defTabSz="914369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369" indent="-228592" algn="l" defTabSz="914369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2961" indent="-228592" algn="l" defTabSz="914369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377903" indent="-228592" algn="l" defTabSz="914369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3320" indent="-228592" algn="l" defTabSz="91436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30325" indent="-228592" algn="l" defTabSz="914369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057329" indent="-228592" algn="l" defTabSz="91436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aim is to capture a complex field distribution (i.e., light intensity and direction).</a:t>
            </a:r>
          </a:p>
          <a:p>
            <a:r>
              <a:rPr lang="en-US" dirty="0"/>
              <a:t>Image sensors / films are only sensitive to light intensity.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Box 97">
                <a:extLst>
                  <a:ext uri="{FF2B5EF4-FFF2-40B4-BE49-F238E27FC236}">
                    <a16:creationId xmlns:a16="http://schemas.microsoft.com/office/drawing/2014/main" id="{97A54E02-1958-B10F-2499-6F2020CFAEE3}"/>
                  </a:ext>
                </a:extLst>
              </p:cNvPr>
              <p:cNvSpPr txBox="1"/>
              <p:nvPr/>
            </p:nvSpPr>
            <p:spPr>
              <a:xfrm>
                <a:off x="9038775" y="1459360"/>
                <a:ext cx="294127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𝑈</m:t>
                      </m:r>
                      <m:d>
                        <m:dPr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=1+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4" name="TextBox 97">
                <a:extLst>
                  <a:ext uri="{FF2B5EF4-FFF2-40B4-BE49-F238E27FC236}">
                    <a16:creationId xmlns:a16="http://schemas.microsoft.com/office/drawing/2014/main" id="{97A54E02-1958-B10F-2499-6F2020CFAE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38775" y="1459360"/>
                <a:ext cx="2941271" cy="369332"/>
              </a:xfrm>
              <a:prstGeom prst="rect">
                <a:avLst/>
              </a:prstGeom>
              <a:blipFill>
                <a:blip r:embed="rId16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5" name="TextBox 98">
                <a:extLst>
                  <a:ext uri="{FF2B5EF4-FFF2-40B4-BE49-F238E27FC236}">
                    <a16:creationId xmlns:a16="http://schemas.microsoft.com/office/drawing/2014/main" id="{161EDCF9-FBA8-5392-005A-77EDF0ECDCCC}"/>
                  </a:ext>
                </a:extLst>
              </p:cNvPr>
              <p:cNvSpPr txBox="1"/>
              <p:nvPr/>
            </p:nvSpPr>
            <p:spPr>
              <a:xfrm>
                <a:off x="8994269" y="2681694"/>
                <a:ext cx="297048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)⋅ 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𝑈</m:t>
                      </m:r>
                      <m:d>
                        <m:dPr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5" name="TextBox 98">
                <a:extLst>
                  <a:ext uri="{FF2B5EF4-FFF2-40B4-BE49-F238E27FC236}">
                    <a16:creationId xmlns:a16="http://schemas.microsoft.com/office/drawing/2014/main" id="{161EDCF9-FBA8-5392-005A-77EDF0ECDC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4269" y="2681694"/>
                <a:ext cx="2970481" cy="369332"/>
              </a:xfrm>
              <a:prstGeom prst="rect">
                <a:avLst/>
              </a:prstGeom>
              <a:blipFill>
                <a:blip r:embed="rId17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6" name="Arrow: Down 115">
            <a:extLst>
              <a:ext uri="{FF2B5EF4-FFF2-40B4-BE49-F238E27FC236}">
                <a16:creationId xmlns:a16="http://schemas.microsoft.com/office/drawing/2014/main" id="{CFD77DCF-48E2-5B0C-F331-B1B547A1D701}"/>
              </a:ext>
            </a:extLst>
          </p:cNvPr>
          <p:cNvSpPr/>
          <p:nvPr/>
        </p:nvSpPr>
        <p:spPr>
          <a:xfrm>
            <a:off x="10357279" y="1811476"/>
            <a:ext cx="207812" cy="854056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7" name="TextBox 101">
            <a:extLst>
              <a:ext uri="{FF2B5EF4-FFF2-40B4-BE49-F238E27FC236}">
                <a16:creationId xmlns:a16="http://schemas.microsoft.com/office/drawing/2014/main" id="{A04B7FC1-9687-B5EE-BA2A-A80E26D09A52}"/>
              </a:ext>
            </a:extLst>
          </p:cNvPr>
          <p:cNvSpPr txBox="1"/>
          <p:nvPr/>
        </p:nvSpPr>
        <p:spPr>
          <a:xfrm>
            <a:off x="10488496" y="2009506"/>
            <a:ext cx="12814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Illumination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Box 103">
                <a:extLst>
                  <a:ext uri="{FF2B5EF4-FFF2-40B4-BE49-F238E27FC236}">
                    <a16:creationId xmlns:a16="http://schemas.microsoft.com/office/drawing/2014/main" id="{4584BA94-FEA4-EB7F-A07F-ADEF9A1ADD51}"/>
                  </a:ext>
                </a:extLst>
              </p:cNvPr>
              <p:cNvSpPr txBox="1"/>
              <p:nvPr/>
            </p:nvSpPr>
            <p:spPr>
              <a:xfrm>
                <a:off x="9017370" y="3172769"/>
                <a:ext cx="297048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)∙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8" name="TextBox 103">
                <a:extLst>
                  <a:ext uri="{FF2B5EF4-FFF2-40B4-BE49-F238E27FC236}">
                    <a16:creationId xmlns:a16="http://schemas.microsoft.com/office/drawing/2014/main" id="{4584BA94-FEA4-EB7F-A07F-ADEF9A1ADD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17370" y="3172769"/>
                <a:ext cx="2970481" cy="369332"/>
              </a:xfrm>
              <a:prstGeom prst="rect">
                <a:avLst/>
              </a:prstGeom>
              <a:blipFill>
                <a:blip r:embed="rId18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9" name="TextBox 104">
                <a:extLst>
                  <a:ext uri="{FF2B5EF4-FFF2-40B4-BE49-F238E27FC236}">
                    <a16:creationId xmlns:a16="http://schemas.microsoft.com/office/drawing/2014/main" id="{4D93FF89-3B7D-8DE6-E7B9-3E4A7B783D6A}"/>
                  </a:ext>
                </a:extLst>
              </p:cNvPr>
              <p:cNvSpPr txBox="1"/>
              <p:nvPr/>
            </p:nvSpPr>
            <p:spPr>
              <a:xfrm>
                <a:off x="10342563" y="2949151"/>
                <a:ext cx="23724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9" name="TextBox 104">
                <a:extLst>
                  <a:ext uri="{FF2B5EF4-FFF2-40B4-BE49-F238E27FC236}">
                    <a16:creationId xmlns:a16="http://schemas.microsoft.com/office/drawing/2014/main" id="{4D93FF89-3B7D-8DE6-E7B9-3E4A7B783D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2563" y="2949151"/>
                <a:ext cx="237244" cy="276999"/>
              </a:xfrm>
              <a:prstGeom prst="rect">
                <a:avLst/>
              </a:prstGeom>
              <a:blipFill>
                <a:blip r:embed="rId19"/>
                <a:stretch>
                  <a:fillRect l="-10256" r="-51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0" name="Left Brace 119">
            <a:extLst>
              <a:ext uri="{FF2B5EF4-FFF2-40B4-BE49-F238E27FC236}">
                <a16:creationId xmlns:a16="http://schemas.microsoft.com/office/drawing/2014/main" id="{E781D3FC-CB6E-E51B-B96A-A9E79945F784}"/>
              </a:ext>
            </a:extLst>
          </p:cNvPr>
          <p:cNvSpPr/>
          <p:nvPr/>
        </p:nvSpPr>
        <p:spPr>
          <a:xfrm rot="16200000">
            <a:off x="9915910" y="3866259"/>
            <a:ext cx="307915" cy="482604"/>
          </a:xfrm>
          <a:prstGeom prst="leftBrace">
            <a:avLst>
              <a:gd name="adj1" fmla="val 4987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1" name="TextBox 106">
            <a:extLst>
              <a:ext uri="{FF2B5EF4-FFF2-40B4-BE49-F238E27FC236}">
                <a16:creationId xmlns:a16="http://schemas.microsoft.com/office/drawing/2014/main" id="{E1F3C594-2180-4212-B177-3BD6278267A0}"/>
              </a:ext>
            </a:extLst>
          </p:cNvPr>
          <p:cNvSpPr txBox="1"/>
          <p:nvPr/>
        </p:nvSpPr>
        <p:spPr>
          <a:xfrm>
            <a:off x="8762166" y="4275927"/>
            <a:ext cx="16352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dirty="0"/>
              <a:t>Reference field</a:t>
            </a:r>
            <a:endParaRPr lang="en-US" sz="1600" dirty="0"/>
          </a:p>
        </p:txBody>
      </p:sp>
      <p:sp>
        <p:nvSpPr>
          <p:cNvPr id="122" name="Left Brace 121">
            <a:extLst>
              <a:ext uri="{FF2B5EF4-FFF2-40B4-BE49-F238E27FC236}">
                <a16:creationId xmlns:a16="http://schemas.microsoft.com/office/drawing/2014/main" id="{0ED60DFE-4E67-7B9C-9E87-83DC2D3DF23C}"/>
              </a:ext>
            </a:extLst>
          </p:cNvPr>
          <p:cNvSpPr/>
          <p:nvPr/>
        </p:nvSpPr>
        <p:spPr>
          <a:xfrm rot="16200000">
            <a:off x="10664649" y="3869471"/>
            <a:ext cx="307915" cy="437701"/>
          </a:xfrm>
          <a:prstGeom prst="leftBrace">
            <a:avLst>
              <a:gd name="adj1" fmla="val 4987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3" name="TextBox 108">
            <a:extLst>
              <a:ext uri="{FF2B5EF4-FFF2-40B4-BE49-F238E27FC236}">
                <a16:creationId xmlns:a16="http://schemas.microsoft.com/office/drawing/2014/main" id="{B14AA67A-A3E5-66F0-8B4A-C137D79B22E8}"/>
              </a:ext>
            </a:extLst>
          </p:cNvPr>
          <p:cNvSpPr txBox="1"/>
          <p:nvPr/>
        </p:nvSpPr>
        <p:spPr>
          <a:xfrm>
            <a:off x="10285952" y="4275926"/>
            <a:ext cx="16352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dirty="0"/>
              <a:t>Latent/Object field</a:t>
            </a:r>
            <a:endParaRPr lang="en-US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930BCF2-8BF1-B8A0-97D9-88951C217C55}"/>
                  </a:ext>
                </a:extLst>
              </p:cNvPr>
              <p:cNvSpPr txBox="1"/>
              <p:nvPr/>
            </p:nvSpPr>
            <p:spPr>
              <a:xfrm>
                <a:off x="9772128" y="3599661"/>
                <a:ext cx="176191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  <a:ea typeface="+mn-ea"/>
                      </a:rPr>
                      <m:t>𝑅</m:t>
                    </m:r>
                    <m:r>
                      <a:rPr lang="de-DE" sz="1800" i="1">
                        <a:latin typeface="Cambria Math" panose="02040503050406030204" pitchFamily="18" charset="0"/>
                        <a:ea typeface="+mn-ea"/>
                      </a:rPr>
                      <m:t>(</m:t>
                    </m:r>
                    <m:r>
                      <a:rPr lang="de-DE" sz="1800" i="1">
                        <a:latin typeface="Cambria Math" panose="02040503050406030204" pitchFamily="18" charset="0"/>
                        <a:ea typeface="+mn-ea"/>
                      </a:rPr>
                      <m:t>𝑟</m:t>
                    </m:r>
                    <m:r>
                      <a:rPr lang="de-DE" sz="1800" i="1">
                        <a:latin typeface="Cambria Math" panose="02040503050406030204" pitchFamily="18" charset="0"/>
                        <a:ea typeface="+mn-ea"/>
                      </a:rPr>
                      <m:t>)</m:t>
                    </m:r>
                  </m:oMath>
                </a14:m>
                <a:r>
                  <a:rPr lang="en-US" sz="1800" i="1" dirty="0">
                    <a:latin typeface="Cambria Math" panose="02040503050406030204" pitchFamily="18" charset="0"/>
                    <a:ea typeface="+mn-ea"/>
                  </a:rPr>
                  <a:t> </a:t>
                </a:r>
                <a14:m>
                  <m:oMath xmlns:m="http://schemas.openxmlformats.org/officeDocument/2006/math">
                    <m:r>
                      <a:rPr lang="de-DE" sz="1800" i="1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US" sz="1800" i="1" dirty="0">
                    <a:latin typeface="Cambria Math" panose="02040503050406030204" pitchFamily="18" charset="0"/>
                    <a:ea typeface="+mn-ea"/>
                  </a:rPr>
                  <a:t>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  <a:ea typeface="+mn-ea"/>
                      </a:rPr>
                      <m:t>𝑂</m:t>
                    </m:r>
                    <m:r>
                      <a:rPr lang="de-DE" sz="1800" i="1">
                        <a:latin typeface="Cambria Math" panose="02040503050406030204" pitchFamily="18" charset="0"/>
                        <a:ea typeface="+mn-ea"/>
                      </a:rPr>
                      <m:t>(</m:t>
                    </m:r>
                    <m:r>
                      <a:rPr lang="de-DE" sz="1800" i="1">
                        <a:latin typeface="Cambria Math" panose="02040503050406030204" pitchFamily="18" charset="0"/>
                        <a:ea typeface="+mn-ea"/>
                      </a:rPr>
                      <m:t>𝑟</m:t>
                    </m:r>
                    <m:r>
                      <a:rPr lang="de-DE" sz="1800" i="1">
                        <a:latin typeface="Cambria Math" panose="02040503050406030204" pitchFamily="18" charset="0"/>
                        <a:ea typeface="+mn-ea"/>
                      </a:rPr>
                      <m:t>)</m:t>
                    </m:r>
                  </m:oMath>
                </a14:m>
                <a:r>
                  <a:rPr lang="en-US" sz="1800" i="1" dirty="0">
                    <a:latin typeface="Cambria Math" panose="02040503050406030204" pitchFamily="18" charset="0"/>
                    <a:ea typeface="+mn-ea"/>
                  </a:rPr>
                  <a:t> </a:t>
                </a: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930BCF2-8BF1-B8A0-97D9-88951C217C5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72128" y="3599661"/>
                <a:ext cx="1761912" cy="369332"/>
              </a:xfrm>
              <a:prstGeom prst="rect">
                <a:avLst/>
              </a:prstGeom>
              <a:blipFill>
                <a:blip r:embed="rId20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63A78EB-4C48-A12A-7164-EBC057456CE6}"/>
                  </a:ext>
                </a:extLst>
              </p:cNvPr>
              <p:cNvSpPr txBox="1"/>
              <p:nvPr/>
            </p:nvSpPr>
            <p:spPr>
              <a:xfrm>
                <a:off x="9941682" y="3419708"/>
                <a:ext cx="103900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63A78EB-4C48-A12A-7164-EBC057456C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41682" y="3419708"/>
                <a:ext cx="1039006" cy="369332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0089EEF-3E3D-9F63-2355-1E6A5E9267FE}"/>
                  </a:ext>
                </a:extLst>
              </p:cNvPr>
              <p:cNvSpPr txBox="1"/>
              <p:nvPr/>
            </p:nvSpPr>
            <p:spPr>
              <a:xfrm>
                <a:off x="6099175" y="5148127"/>
                <a:ext cx="6099171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sz="1800" dirty="0"/>
                  <a:t>                          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</a:rPr>
                      <m:t>I</m:t>
                    </m:r>
                    <m:d>
                      <m:d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sz="1800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800" b="0" i="1" smtClean="0">
                            <a:latin typeface="Cambria Math" panose="02040503050406030204" pitchFamily="18" charset="0"/>
                            <a:ea typeface="+mn-ea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𝑅</m:t>
                        </m:r>
                        <m:d>
                          <m:d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</m:d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nor/>
                          </m:rPr>
                          <a:rPr lang="en-US" sz="1800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𝑂</m:t>
                        </m:r>
                        <m:d>
                          <m:d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</m:d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|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+mn-ea"/>
                          </a:rPr>
                          <m:t>2</m:t>
                        </m:r>
                      </m:sup>
                    </m:sSup>
                  </m:oMath>
                </a14:m>
                <a:endParaRPr lang="en-US" sz="1800" b="0" i="1" dirty="0">
                  <a:latin typeface="Cambria Math" panose="02040503050406030204" pitchFamily="18" charset="0"/>
                  <a:ea typeface="+mn-ea"/>
                </a:endParaRPr>
              </a:p>
              <a:p>
                <a:endParaRPr lang="en-US" sz="1800" b="0" i="1" dirty="0">
                  <a:latin typeface="Cambria Math" panose="02040503050406030204" pitchFamily="18" charset="0"/>
                </a:endParaRPr>
              </a:p>
              <a:p>
                <a:r>
                  <a:rPr lang="en-US" sz="1800" dirty="0"/>
                  <a:t>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800">
                        <a:latin typeface="Cambria Math" panose="02040503050406030204" pitchFamily="18" charset="0"/>
                      </a:rPr>
                      <m:t>I</m:t>
                    </m:r>
                    <m:d>
                      <m:d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 </m:t>
                    </m:r>
                    <m:sSup>
                      <m:sSupPr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𝑅</m:t>
                        </m:r>
                        <m:d>
                          <m:d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</m:d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𝑂</m:t>
                        </m:r>
                        <m:d>
                          <m:d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</m:d>
                      </m:e>
                      <m:sup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18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𝑅</m:t>
                    </m:r>
                    <m:d>
                      <m:dPr>
                        <m:ctrlP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sSup>
                      <m:sSupPr>
                        <m:ctrlP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p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𝑂</m:t>
                    </m:r>
                    <m:d>
                      <m:d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p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1800" i="1" dirty="0">
                    <a:latin typeface="Cambria Math" panose="02040503050406030204" pitchFamily="18" charset="0"/>
                    <a:ea typeface="+mn-ea"/>
                  </a:rPr>
                  <a:t>			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0089EEF-3E3D-9F63-2355-1E6A5E9267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9175" y="5148127"/>
                <a:ext cx="6099171" cy="1200329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Left Brace 8">
            <a:extLst>
              <a:ext uri="{FF2B5EF4-FFF2-40B4-BE49-F238E27FC236}">
                <a16:creationId xmlns:a16="http://schemas.microsoft.com/office/drawing/2014/main" id="{3B4D1D58-1B23-3D16-4F92-9E5A0365224E}"/>
              </a:ext>
            </a:extLst>
          </p:cNvPr>
          <p:cNvSpPr/>
          <p:nvPr/>
        </p:nvSpPr>
        <p:spPr>
          <a:xfrm rot="16200000">
            <a:off x="7755417" y="5956246"/>
            <a:ext cx="307915" cy="482604"/>
          </a:xfrm>
          <a:prstGeom prst="leftBrace">
            <a:avLst>
              <a:gd name="adj1" fmla="val 4987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TextBox 106">
            <a:extLst>
              <a:ext uri="{FF2B5EF4-FFF2-40B4-BE49-F238E27FC236}">
                <a16:creationId xmlns:a16="http://schemas.microsoft.com/office/drawing/2014/main" id="{DF76A546-9CBA-3E65-4624-5C2368AEF739}"/>
              </a:ext>
            </a:extLst>
          </p:cNvPr>
          <p:cNvSpPr txBox="1"/>
          <p:nvPr/>
        </p:nvSpPr>
        <p:spPr>
          <a:xfrm>
            <a:off x="6932625" y="6420656"/>
            <a:ext cx="1635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dirty="0"/>
              <a:t>Constant</a:t>
            </a:r>
            <a:endParaRPr lang="en-US" sz="1600" dirty="0"/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F5CF54F7-FC57-09D9-B906-314CA7909622}"/>
              </a:ext>
            </a:extLst>
          </p:cNvPr>
          <p:cNvSpPr/>
          <p:nvPr/>
        </p:nvSpPr>
        <p:spPr>
          <a:xfrm rot="16200000">
            <a:off x="8603995" y="5952356"/>
            <a:ext cx="307915" cy="482604"/>
          </a:xfrm>
          <a:prstGeom prst="leftBrace">
            <a:avLst>
              <a:gd name="adj1" fmla="val 4987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TextBox 106">
            <a:extLst>
              <a:ext uri="{FF2B5EF4-FFF2-40B4-BE49-F238E27FC236}">
                <a16:creationId xmlns:a16="http://schemas.microsoft.com/office/drawing/2014/main" id="{BC208E57-47AC-D70D-318A-8C1606ADFFF8}"/>
              </a:ext>
            </a:extLst>
          </p:cNvPr>
          <p:cNvSpPr txBox="1"/>
          <p:nvPr/>
        </p:nvSpPr>
        <p:spPr>
          <a:xfrm>
            <a:off x="8963706" y="6400057"/>
            <a:ext cx="1635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dirty="0">
                <a:solidFill>
                  <a:srgbClr val="FF0000"/>
                </a:solidFill>
              </a:rPr>
              <a:t>Twin imag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C1793F98-E93C-F8A3-0CAC-3433718CC587}"/>
              </a:ext>
            </a:extLst>
          </p:cNvPr>
          <p:cNvSpPr/>
          <p:nvPr/>
        </p:nvSpPr>
        <p:spPr>
          <a:xfrm rot="16200000">
            <a:off x="9658788" y="5716634"/>
            <a:ext cx="307915" cy="946417"/>
          </a:xfrm>
          <a:prstGeom prst="leftBrace">
            <a:avLst>
              <a:gd name="adj1" fmla="val 4987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06">
            <a:extLst>
              <a:ext uri="{FF2B5EF4-FFF2-40B4-BE49-F238E27FC236}">
                <a16:creationId xmlns:a16="http://schemas.microsoft.com/office/drawing/2014/main" id="{0FAB3DEB-BD21-FAEA-85F9-F45D14527CAB}"/>
              </a:ext>
            </a:extLst>
          </p:cNvPr>
          <p:cNvSpPr txBox="1"/>
          <p:nvPr/>
        </p:nvSpPr>
        <p:spPr>
          <a:xfrm>
            <a:off x="7885154" y="6400057"/>
            <a:ext cx="1635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dirty="0"/>
              <a:t>Ignored</a:t>
            </a:r>
            <a:endParaRPr lang="en-US" sz="1600" dirty="0"/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8884BE28-0435-C7AB-5BE7-AC4041E7B2F0}"/>
              </a:ext>
            </a:extLst>
          </p:cNvPr>
          <p:cNvSpPr/>
          <p:nvPr/>
        </p:nvSpPr>
        <p:spPr>
          <a:xfrm rot="16200000">
            <a:off x="10982758" y="5768649"/>
            <a:ext cx="307915" cy="794654"/>
          </a:xfrm>
          <a:prstGeom prst="leftBrace">
            <a:avLst>
              <a:gd name="adj1" fmla="val 4987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6" name="TextBox 106">
            <a:extLst>
              <a:ext uri="{FF2B5EF4-FFF2-40B4-BE49-F238E27FC236}">
                <a16:creationId xmlns:a16="http://schemas.microsoft.com/office/drawing/2014/main" id="{F151BBBD-CE6E-E703-C145-E587D181B901}"/>
              </a:ext>
            </a:extLst>
          </p:cNvPr>
          <p:cNvSpPr txBox="1"/>
          <p:nvPr/>
        </p:nvSpPr>
        <p:spPr>
          <a:xfrm>
            <a:off x="10285952" y="6414745"/>
            <a:ext cx="1635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dirty="0"/>
              <a:t>Latent field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215580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mental Results</a:t>
            </a:r>
          </a:p>
        </p:txBody>
      </p:sp>
    </p:spTree>
    <p:extLst>
      <p:ext uri="{BB962C8B-B14F-4D97-AF65-F5344CB8AC3E}">
        <p14:creationId xmlns:p14="http://schemas.microsoft.com/office/powerpoint/2010/main" val="39313567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519" y="188640"/>
            <a:ext cx="6407203" cy="875969"/>
          </a:xfrm>
        </p:spPr>
        <p:txBody>
          <a:bodyPr/>
          <a:lstStyle/>
          <a:p>
            <a:r>
              <a:rPr lang="en-US" dirty="0"/>
              <a:t>Experiment result: </a:t>
            </a:r>
            <a:r>
              <a:rPr lang="en-US" sz="2800" dirty="0"/>
              <a:t>Ablation Studie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 descr="A graph of a person with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1814422D-3997-4867-B0AA-7F4BBD4FC5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67" y="875470"/>
            <a:ext cx="10515677" cy="242889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393839C-1B67-87E0-DE34-0B4C4930DF84}"/>
                  </a:ext>
                </a:extLst>
              </p:cNvPr>
              <p:cNvSpPr txBox="1"/>
              <p:nvPr/>
            </p:nvSpPr>
            <p:spPr>
              <a:xfrm>
                <a:off x="986607" y="4064417"/>
                <a:ext cx="11017224" cy="160043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E (Single-step Patch Embedding): 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se a single-step Patch Embedding with one </a:t>
                </a:r>
                <a:r>
                  <a:rPr lang="en-US" sz="140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age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𝑆</m:t>
                        </m:r>
                      </m:sub>
                    </m:sSub>
                  </m:oMath>
                </a14:m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en-US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</m:t>
                        </m:r>
                      </m:sub>
                    </m:sSub>
                  </m:oMath>
                </a14:m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have similar size as Cross-Net.</a:t>
                </a:r>
              </a:p>
              <a:p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E </a:t>
                </a:r>
                <a:r>
                  <a:rPr lang="en-US" sz="1400" dirty="0" err="1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tt</a:t>
                </a:r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:  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plac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𝑆</m:t>
                        </m:r>
                      </m:sub>
                    </m:sSub>
                  </m:oMath>
                </a14:m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ith attention, decrease the number of inter-spatial and inter-channel processing units to keep similar size as SPE.</a:t>
                </a:r>
              </a:p>
              <a:p>
                <a:endParaRPr 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E </a:t>
                </a:r>
                <a:r>
                  <a:rPr lang="en-US" sz="1400" dirty="0" err="1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tt</a:t>
                </a:r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:  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plac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𝑜𝑛𝑣</m:t>
                        </m:r>
                      </m:e>
                      <m:sub>
                        <m:r>
                          <a:rPr lang="de-DE" sz="140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𝑆</m:t>
                        </m:r>
                      </m:sub>
                    </m:sSub>
                  </m:oMath>
                </a14:m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ith attention, keep the same cycles of processing units.</a:t>
                </a:r>
              </a:p>
              <a:p>
                <a:b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en-US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ross-Net BN: 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place weight normalization with batch normalization.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393839C-1B67-87E0-DE34-0B4C4930DF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6607" y="4064417"/>
                <a:ext cx="11017224" cy="1600438"/>
              </a:xfrm>
              <a:prstGeom prst="rect">
                <a:avLst/>
              </a:prstGeom>
              <a:blipFill>
                <a:blip r:embed="rId3"/>
                <a:stretch>
                  <a:fillRect l="-166" t="-763" b="-3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05C8B7AE-6773-3745-97FE-A78F078D186C}"/>
              </a:ext>
            </a:extLst>
          </p:cNvPr>
          <p:cNvSpPr txBox="1"/>
          <p:nvPr/>
        </p:nvSpPr>
        <p:spPr>
          <a:xfrm>
            <a:off x="4731023" y="3413435"/>
            <a:ext cx="244364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</a:t>
            </a:r>
            <a:r>
              <a:rPr lang="en-US" sz="1100">
                <a:latin typeface="Times New Roman" panose="02020603050405020304" pitchFamily="18" charset="0"/>
                <a:cs typeface="Times New Roman" panose="02020603050405020304" pitchFamily="18" charset="0"/>
              </a:rPr>
              <a:t>15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result of </a:t>
            </a:r>
            <a:r>
              <a:rPr lang="en-US" sz="1100">
                <a:latin typeface="Times New Roman" panose="02020603050405020304" pitchFamily="18" charset="0"/>
                <a:cs typeface="Times New Roman" panose="02020603050405020304" pitchFamily="18" charset="0"/>
              </a:rPr>
              <a:t>ablation studies. 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59886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519" y="203091"/>
            <a:ext cx="2144818" cy="861518"/>
          </a:xfrm>
        </p:spPr>
        <p:txBody>
          <a:bodyPr/>
          <a:lstStyle/>
          <a:p>
            <a:r>
              <a:rPr lang="en-US" dirty="0"/>
              <a:t>Conclusions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ED0206-2B82-1333-650C-1A103EB7262F}"/>
              </a:ext>
            </a:extLst>
          </p:cNvPr>
          <p:cNvSpPr txBox="1"/>
          <p:nvPr/>
        </p:nvSpPr>
        <p:spPr>
          <a:xfrm>
            <a:off x="194519" y="1064608"/>
            <a:ext cx="11161240" cy="2241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hieved joint computational re-focusing and holographic image reconstruction. </a:t>
            </a:r>
          </a:p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posed novel Patch Embedding decomposition and redesigned the inter-spatial processing units of the standar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del.</a:t>
            </a:r>
          </a:p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monstrated competitive results with state-of-the-art approaches.</a:t>
            </a:r>
          </a:p>
        </p:txBody>
      </p:sp>
    </p:spTree>
    <p:extLst>
      <p:ext uri="{BB962C8B-B14F-4D97-AF65-F5344CB8AC3E}">
        <p14:creationId xmlns:p14="http://schemas.microsoft.com/office/powerpoint/2010/main" val="27510501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519" y="203091"/>
            <a:ext cx="2202526" cy="861518"/>
          </a:xfrm>
        </p:spPr>
        <p:txBody>
          <a:bodyPr/>
          <a:lstStyle/>
          <a:p>
            <a:r>
              <a:rPr lang="en-US" dirty="0"/>
              <a:t>Future work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ED0206-2B82-1333-650C-1A103EB7262F}"/>
              </a:ext>
            </a:extLst>
          </p:cNvPr>
          <p:cNvSpPr txBox="1"/>
          <p:nvPr/>
        </p:nvSpPr>
        <p:spPr>
          <a:xfrm>
            <a:off x="122511" y="1628800"/>
            <a:ext cx="12025336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spatial super-resolution capability as it can be achieved by changing the output channels of the linear mapping layer in the decoder.</a:t>
            </a:r>
          </a:p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rget performance on real holographic data captured by Sony’s DIHM prototype.</a:t>
            </a:r>
          </a:p>
          <a:p>
            <a:br>
              <a:rPr lang="en-US" b="0" i="0" dirty="0">
                <a:solidFill>
                  <a:srgbClr val="495365"/>
                </a:solidFill>
                <a:effectLst/>
                <a:latin typeface="Lato" panose="020F0502020204030203" pitchFamily="34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00511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749610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519" y="203091"/>
            <a:ext cx="3977051" cy="861518"/>
          </a:xfrm>
        </p:spPr>
        <p:txBody>
          <a:bodyPr/>
          <a:lstStyle/>
          <a:p>
            <a:r>
              <a:rPr lang="en-US" dirty="0"/>
              <a:t>Appendix: Other trials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ED0206-2B82-1333-650C-1A103EB7262F}"/>
              </a:ext>
            </a:extLst>
          </p:cNvPr>
          <p:cNvSpPr txBox="1"/>
          <p:nvPr/>
        </p:nvSpPr>
        <p:spPr>
          <a:xfrm>
            <a:off x="86507" y="1124744"/>
            <a:ext cx="12025336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y to improve Fourier Imager Network(FIN). </a:t>
            </a:r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rtl="0">
              <a:lnSpc>
                <a:spcPct val="150000"/>
              </a:lnSpc>
            </a:pPr>
            <a:r>
              <a:rPr lang="en-US" sz="1400"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ke the spatial frequency filters as a kind of half fixed format, and only optimize several hyperparameters. It fails.</a:t>
            </a:r>
          </a:p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>
                <a:latin typeface="Times New Roman" panose="02020603050405020304" pitchFamily="18" charset="0"/>
                <a:cs typeface="Times New Roman" panose="02020603050405020304" pitchFamily="18" charset="0"/>
              </a:rPr>
              <a:t>Try to improve U-Ne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rtl="0">
              <a:lnSpc>
                <a:spcPct val="150000"/>
              </a:lnSpc>
            </a:pPr>
            <a:r>
              <a:rPr lang="en-US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ut something on the skip connection, like spatial </a:t>
            </a:r>
            <a:r>
              <a:rPr lang="en-US" sz="1400">
                <a:latin typeface="Times New Roman" panose="02020603050405020304" pitchFamily="18" charset="0"/>
                <a:cs typeface="Times New Roman" panose="02020603050405020304" pitchFamily="18" charset="0"/>
              </a:rPr>
              <a:t>frequency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lters or spatial processing. Use U-Net as the basic units of RNN. It fails.</a:t>
            </a:r>
          </a:p>
          <a:p>
            <a:pPr marL="342900" indent="-342900" algn="l" rtl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y to improve RNN.</a:t>
            </a:r>
          </a:p>
          <a:p>
            <a:pPr algn="l" rtl="0">
              <a:lnSpc>
                <a:spcPct val="150000"/>
              </a:lnSpc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Use U-Net as the basic units of RNN. It fails.</a:t>
            </a:r>
          </a:p>
          <a:p>
            <a:pPr algn="l" rtl="0">
              <a:lnSpc>
                <a:spcPct val="150000"/>
              </a:lnSpc>
            </a:pP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y to </a:t>
            </a:r>
            <a:r>
              <a:rPr lang="en-US">
                <a:latin typeface="Times New Roman" panose="02020603050405020304" pitchFamily="18" charset="0"/>
                <a:cs typeface="Times New Roman" panose="02020603050405020304" pitchFamily="18" charset="0"/>
              </a:rPr>
              <a:t>output directly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ase at sensor plane.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utput directly sensor-plane phase can half the capacity requirement for the model. But the errors will spread after back propagation causing low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SSIM and PSNR. It fails.</a:t>
            </a:r>
          </a:p>
          <a:p>
            <a:pPr algn="l" rtl="0">
              <a:lnSpc>
                <a:spcPct val="150000"/>
              </a:lnSpc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br>
              <a:rPr lang="en-US" b="0" i="0" dirty="0">
                <a:solidFill>
                  <a:srgbClr val="495365"/>
                </a:solidFill>
                <a:effectLst/>
                <a:latin typeface="Lato" panose="020F0502020204030203" pitchFamily="34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6976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13431"/>
            <a:ext cx="7032374" cy="423193"/>
          </a:xfrm>
        </p:spPr>
        <p:txBody>
          <a:bodyPr/>
          <a:lstStyle/>
          <a:p>
            <a:r>
              <a:rPr lang="en-US" sz="2750" dirty="0">
                <a:latin typeface="Tahoma"/>
                <a:ea typeface="ＭＳ Ｐゴシック"/>
                <a:cs typeface="Tahoma"/>
              </a:rPr>
              <a:t>State-of-the-art Competing </a:t>
            </a:r>
            <a:r>
              <a:rPr lang="en-US" sz="2750">
                <a:latin typeface="Tahoma"/>
                <a:ea typeface="ＭＳ Ｐゴシック"/>
                <a:cs typeface="Tahoma"/>
              </a:rPr>
              <a:t>Approaches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877924-2589-7E34-4545-BBB3B2DDBE39}"/>
              </a:ext>
            </a:extLst>
          </p:cNvPr>
          <p:cNvSpPr txBox="1"/>
          <p:nvPr/>
        </p:nvSpPr>
        <p:spPr>
          <a:xfrm>
            <a:off x="487182" y="4437112"/>
            <a:ext cx="6408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9: Schematic of the deep learning workflow and the structure of </a:t>
            </a:r>
            <a:r>
              <a:rPr lang="en-US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RNet</a:t>
            </a: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 descr="A diagram of a flowchart&#10;&#10;Description automatically generated">
            <a:extLst>
              <a:ext uri="{FF2B5EF4-FFF2-40B4-BE49-F238E27FC236}">
                <a16:creationId xmlns:a16="http://schemas.microsoft.com/office/drawing/2014/main" id="{409C974C-F626-91C4-68AD-DA1B3D6E71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2" y="1442755"/>
            <a:ext cx="6610398" cy="29337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5B84A27-A896-4A9D-92C4-F1FDDBDD5B24}"/>
              </a:ext>
            </a:extLst>
          </p:cNvPr>
          <p:cNvSpPr txBox="1"/>
          <p:nvPr/>
        </p:nvSpPr>
        <p:spPr>
          <a:xfrm>
            <a:off x="7395319" y="2505670"/>
            <a:ext cx="480303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RNe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s a deep residual network as encoder and simple periodic shuffling as a decoder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A012B6-3D6A-DACD-83A9-4649A7E9CDA5}"/>
              </a:ext>
            </a:extLst>
          </p:cNvPr>
          <p:cNvSpPr txBox="1"/>
          <p:nvPr/>
        </p:nvSpPr>
        <p:spPr>
          <a:xfrm>
            <a:off x="313734" y="6198348"/>
            <a:ext cx="1157088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 err="1">
                <a:effectLst/>
                <a:latin typeface="Arial" panose="020B0604020202020204" pitchFamily="34" charset="0"/>
              </a:rPr>
              <a:t>Zhenbo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Ren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Zhimi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Xu, and Edmund Y Lam, “End-to-end deep learning framework for digital holographic reconstruction,” Advanced Photonics, vol. 1, no. 1, pp.016004–016004, 2019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9041029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7033977" cy="430759"/>
          </a:xfrm>
        </p:spPr>
        <p:txBody>
          <a:bodyPr/>
          <a:lstStyle/>
          <a:p>
            <a:r>
              <a:rPr lang="en-US" sz="2750" dirty="0">
                <a:latin typeface="Tahoma"/>
                <a:ea typeface="ＭＳ Ｐゴシック"/>
                <a:cs typeface="Tahoma"/>
              </a:rPr>
              <a:t>State-of-the-art Competing </a:t>
            </a:r>
            <a:r>
              <a:rPr lang="en-US" sz="2750">
                <a:latin typeface="Tahoma"/>
                <a:ea typeface="ＭＳ Ｐゴシック"/>
                <a:cs typeface="Tahoma"/>
              </a:rPr>
              <a:t>Approaches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877924-2589-7E34-4545-BBB3B2DDBE39}"/>
              </a:ext>
            </a:extLst>
          </p:cNvPr>
          <p:cNvSpPr txBox="1"/>
          <p:nvPr/>
        </p:nvSpPr>
        <p:spPr>
          <a:xfrm>
            <a:off x="224781" y="5038937"/>
            <a:ext cx="72938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10: Schematic of the deep learning workflow and the structure of Dense-U-net</a:t>
            </a:r>
          </a:p>
        </p:txBody>
      </p:sp>
      <p:pic>
        <p:nvPicPr>
          <p:cNvPr id="4" name="Picture 3" descr="A diagram of a block diagram&#10;&#10;Description automatically generated">
            <a:extLst>
              <a:ext uri="{FF2B5EF4-FFF2-40B4-BE49-F238E27FC236}">
                <a16:creationId xmlns:a16="http://schemas.microsoft.com/office/drawing/2014/main" id="{D3027469-1A21-9EBF-5E49-B82EB42FE7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19" y="993509"/>
            <a:ext cx="5630418" cy="406641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5B84A27-A896-4A9D-92C4-F1FDDBDD5B24}"/>
              </a:ext>
            </a:extLst>
          </p:cNvPr>
          <p:cNvSpPr txBox="1"/>
          <p:nvPr/>
        </p:nvSpPr>
        <p:spPr>
          <a:xfrm>
            <a:off x="5667127" y="2415967"/>
            <a:ext cx="68064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nse-U-net is an upgraded version of U-net, it adds specially designed dense blocks to the traditional U-ne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1683E7-9EEE-BEF4-15FC-42D531691002}"/>
              </a:ext>
            </a:extLst>
          </p:cNvPr>
          <p:cNvSpPr txBox="1"/>
          <p:nvPr/>
        </p:nvSpPr>
        <p:spPr>
          <a:xfrm>
            <a:off x="0" y="6103717"/>
            <a:ext cx="133934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 err="1">
                <a:effectLst/>
                <a:latin typeface="Arial" panose="020B0604020202020204" pitchFamily="34" charset="0"/>
              </a:rPr>
              <a:t>Yufeng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Wu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Jiache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Wu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Shangzhong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Ji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Liangcai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Cao, and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Guofa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Ji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“Dense-u-net: dense encoder decoder network for holographic imaging of 3d particle fields,”</a:t>
            </a:r>
          </a:p>
          <a:p>
            <a:r>
              <a:rPr lang="en-US" sz="1000" b="0" i="0" dirty="0">
                <a:effectLst/>
                <a:latin typeface="Arial" panose="020B0604020202020204" pitchFamily="34" charset="0"/>
              </a:rPr>
              <a:t>Optics Communications, vol. 493, pp. 126970, 2021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241008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7033977" cy="430759"/>
          </a:xfrm>
        </p:spPr>
        <p:txBody>
          <a:bodyPr/>
          <a:lstStyle/>
          <a:p>
            <a:r>
              <a:rPr lang="en-US" sz="2750" dirty="0">
                <a:latin typeface="Tahoma"/>
                <a:ea typeface="ＭＳ Ｐゴシック"/>
                <a:cs typeface="Tahoma"/>
              </a:rPr>
              <a:t>State-of-the-art Competing </a:t>
            </a:r>
            <a:r>
              <a:rPr lang="en-US" sz="2750">
                <a:latin typeface="Tahoma"/>
                <a:ea typeface="ＭＳ Ｐゴシック"/>
                <a:cs typeface="Tahoma"/>
              </a:rPr>
              <a:t>Approaches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877924-2589-7E34-4545-BBB3B2DDBE39}"/>
              </a:ext>
            </a:extLst>
          </p:cNvPr>
          <p:cNvSpPr txBox="1"/>
          <p:nvPr/>
        </p:nvSpPr>
        <p:spPr>
          <a:xfrm>
            <a:off x="3074839" y="4920058"/>
            <a:ext cx="6408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11: Schematic of the deep learning workflow and the structure of FI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B84A27-A896-4A9D-92C4-F1FDDBDD5B24}"/>
              </a:ext>
            </a:extLst>
          </p:cNvPr>
          <p:cNvSpPr txBox="1"/>
          <p:nvPr/>
        </p:nvSpPr>
        <p:spPr>
          <a:xfrm>
            <a:off x="590563" y="5348320"/>
            <a:ext cx="110172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>
              <a:buFont typeface="Wingdings" panose="05000000000000000000" pitchFamily="2" charset="2"/>
              <a:buChar char="ü"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FIN architecture is based on spatial Fourier transform modules that process the spatial frequencies of its inputs using learnable filters and a global receptive field. </a:t>
            </a:r>
          </a:p>
        </p:txBody>
      </p:sp>
      <p:pic>
        <p:nvPicPr>
          <p:cNvPr id="4" name="Picture 3" descr="A diagram of a diagram&#10;&#10;Description automatically generated">
            <a:extLst>
              <a:ext uri="{FF2B5EF4-FFF2-40B4-BE49-F238E27FC236}">
                <a16:creationId xmlns:a16="http://schemas.microsoft.com/office/drawing/2014/main" id="{95881297-C1FA-32D6-5E20-9271B4AA62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679" y="1412776"/>
            <a:ext cx="8643471" cy="32696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6684F6-EA0D-EDDA-5E4D-28372C60DBF6}"/>
              </a:ext>
            </a:extLst>
          </p:cNvPr>
          <p:cNvSpPr txBox="1"/>
          <p:nvPr/>
        </p:nvSpPr>
        <p:spPr>
          <a:xfrm>
            <a:off x="122511" y="6026461"/>
            <a:ext cx="139592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 err="1">
                <a:effectLst/>
                <a:latin typeface="Arial" panose="020B0604020202020204" pitchFamily="34" charset="0"/>
              </a:rPr>
              <a:t>Hanlong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Chen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Luzhe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Huang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Taira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Liu, and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Aydoga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Ozcan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“Fourier imager network (fin): A deep neural network for hologram reconstruction with superior external generalization,</a:t>
            </a:r>
          </a:p>
          <a:p>
            <a:r>
              <a:rPr lang="en-US" sz="1000" b="0" i="0" dirty="0">
                <a:effectLst/>
                <a:latin typeface="Arial" panose="020B0604020202020204" pitchFamily="34" charset="0"/>
              </a:rPr>
              <a:t>” Light: Science &amp;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Applications,vol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. 11, no. 1, pp. 254, 2022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365714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7033977" cy="430759"/>
          </a:xfrm>
        </p:spPr>
        <p:txBody>
          <a:bodyPr/>
          <a:lstStyle/>
          <a:p>
            <a:r>
              <a:rPr lang="en-US" sz="2750" dirty="0">
                <a:latin typeface="Tahoma"/>
                <a:ea typeface="ＭＳ Ｐゴシック"/>
                <a:cs typeface="Tahoma"/>
              </a:rPr>
              <a:t>State-of-the-art Competing Approaches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877924-2589-7E34-4545-BBB3B2DDBE39}"/>
              </a:ext>
            </a:extLst>
          </p:cNvPr>
          <p:cNvSpPr txBox="1"/>
          <p:nvPr/>
        </p:nvSpPr>
        <p:spPr>
          <a:xfrm>
            <a:off x="168575" y="5867360"/>
            <a:ext cx="65786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12: Schematic of the deep learning workflow and  the structure of </a:t>
            </a:r>
            <a:r>
              <a:rPr lang="en-US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B84A27-A896-4A9D-92C4-F1FDDBDD5B24}"/>
              </a:ext>
            </a:extLst>
          </p:cNvPr>
          <p:cNvSpPr txBox="1"/>
          <p:nvPr/>
        </p:nvSpPr>
        <p:spPr>
          <a:xfrm>
            <a:off x="6387207" y="3054422"/>
            <a:ext cx="610011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ared to FIN,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FI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s a shallow U-net to extract filters of spatial frequencies and features needed for refocusing.</a:t>
            </a:r>
          </a:p>
        </p:txBody>
      </p:sp>
      <p:pic>
        <p:nvPicPr>
          <p:cNvPr id="4" name="Picture 3" descr="A diagram of a network&#10;&#10;Description automatically generated">
            <a:extLst>
              <a:ext uri="{FF2B5EF4-FFF2-40B4-BE49-F238E27FC236}">
                <a16:creationId xmlns:a16="http://schemas.microsoft.com/office/drawing/2014/main" id="{57ED4687-1CBD-A224-608D-425B1BC70C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51" y="764704"/>
            <a:ext cx="5780761" cy="516668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272BBE0-4524-B63E-4F9C-35189521EFF1}"/>
              </a:ext>
            </a:extLst>
          </p:cNvPr>
          <p:cNvSpPr txBox="1"/>
          <p:nvPr/>
        </p:nvSpPr>
        <p:spPr>
          <a:xfrm>
            <a:off x="168575" y="6155270"/>
            <a:ext cx="1584176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n-US" sz="1000" dirty="0" err="1">
                <a:effectLst/>
                <a:latin typeface="Arial" panose="020B0604020202020204" pitchFamily="34" charset="0"/>
              </a:rPr>
              <a:t>Hanlong</a:t>
            </a:r>
            <a:r>
              <a:rPr lang="en-US" sz="1000" dirty="0">
                <a:effectLst/>
                <a:latin typeface="Arial" panose="020B0604020202020204" pitchFamily="34" charset="0"/>
              </a:rPr>
              <a:t> Chen,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Luzhe</a:t>
            </a:r>
            <a:r>
              <a:rPr lang="en-US" sz="1000" dirty="0">
                <a:effectLst/>
                <a:latin typeface="Arial" panose="020B0604020202020204" pitchFamily="34" charset="0"/>
              </a:rPr>
              <a:t> Huang,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Tairan</a:t>
            </a:r>
            <a:r>
              <a:rPr lang="en-US" sz="1000" dirty="0">
                <a:effectLst/>
                <a:latin typeface="Arial" panose="020B0604020202020204" pitchFamily="34" charset="0"/>
              </a:rPr>
              <a:t> Liu, and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Aydogan</a:t>
            </a:r>
            <a:r>
              <a:rPr lang="en-US" sz="1000" dirty="0">
                <a:effectLst/>
                <a:latin typeface="Arial" panose="020B0604020202020204" pitchFamily="34" charset="0"/>
              </a:rPr>
              <a:t>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Ozcan</a:t>
            </a:r>
            <a:r>
              <a:rPr lang="en-US" sz="1000" dirty="0">
                <a:effectLst/>
                <a:latin typeface="Arial" panose="020B0604020202020204" pitchFamily="34" charset="0"/>
              </a:rPr>
              <a:t>, “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efin</a:t>
            </a:r>
            <a:r>
              <a:rPr lang="en-US" sz="1000" dirty="0">
                <a:effectLst/>
                <a:latin typeface="Arial" panose="020B0604020202020204" pitchFamily="34" charset="0"/>
              </a:rPr>
              <a:t>: Enhanced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fourier</a:t>
            </a:r>
            <a:r>
              <a:rPr lang="en-US" sz="1000" dirty="0">
                <a:effectLst/>
                <a:latin typeface="Arial" panose="020B0604020202020204" pitchFamily="34" charset="0"/>
              </a:rPr>
              <a:t> imager network for</a:t>
            </a:r>
            <a:r>
              <a:rPr lang="en-US" sz="1000" dirty="0">
                <a:latin typeface="Arial" panose="020B0604020202020204" pitchFamily="34" charset="0"/>
              </a:rPr>
              <a:t> </a:t>
            </a:r>
            <a:r>
              <a:rPr lang="en-US" sz="1000" dirty="0">
                <a:effectLst/>
                <a:latin typeface="Arial" panose="020B0604020202020204" pitchFamily="34" charset="0"/>
              </a:rPr>
              <a:t>generalizable autofocusing and pixel super-resolution in</a:t>
            </a:r>
            <a:r>
              <a:rPr lang="en-US" sz="1000" dirty="0">
                <a:latin typeface="Arial" panose="020B0604020202020204" pitchFamily="34" charset="0"/>
              </a:rPr>
              <a:t> </a:t>
            </a:r>
            <a:r>
              <a:rPr lang="en-US" sz="1000" dirty="0">
                <a:effectLst/>
                <a:latin typeface="Arial" panose="020B0604020202020204" pitchFamily="34" charset="0"/>
              </a:rPr>
              <a:t>holographic imaging,” </a:t>
            </a:r>
          </a:p>
          <a:p>
            <a:pPr algn="l" rtl="0"/>
            <a:r>
              <a:rPr lang="en-US" sz="1000" dirty="0">
                <a:effectLst/>
                <a:latin typeface="Arial" panose="020B0604020202020204" pitchFamily="34" charset="0"/>
              </a:rPr>
              <a:t>IEEE Journal of Selected Topics</a:t>
            </a:r>
            <a:r>
              <a:rPr lang="en-US" sz="1000" dirty="0">
                <a:latin typeface="Arial" panose="020B0604020202020204" pitchFamily="34" charset="0"/>
              </a:rPr>
              <a:t> </a:t>
            </a:r>
            <a:r>
              <a:rPr lang="en-US" sz="1000" dirty="0">
                <a:effectLst/>
                <a:latin typeface="Arial" panose="020B0604020202020204" pitchFamily="34" charset="0"/>
              </a:rPr>
              <a:t>in Quantum Electronics, vol. 29, no. 4: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Biophotonics</a:t>
            </a:r>
            <a:r>
              <a:rPr lang="en-US" sz="1000" dirty="0">
                <a:effectLst/>
                <a:latin typeface="Arial" panose="020B0604020202020204" pitchFamily="34" charset="0"/>
              </a:rPr>
              <a:t>,</a:t>
            </a:r>
            <a:r>
              <a:rPr lang="en-US" sz="1000" dirty="0">
                <a:latin typeface="Arial" panose="020B0604020202020204" pitchFamily="34" charset="0"/>
              </a:rPr>
              <a:t> </a:t>
            </a:r>
            <a:r>
              <a:rPr lang="en-US" sz="1000" dirty="0">
                <a:effectLst/>
                <a:latin typeface="Arial" panose="020B0604020202020204" pitchFamily="34" charset="0"/>
              </a:rPr>
              <a:t>pp. 1–10, 2023.</a:t>
            </a:r>
            <a:endParaRPr lang="en-US" sz="1000" dirty="0">
              <a:effectLst/>
            </a:endParaRPr>
          </a:p>
          <a:p>
            <a:br>
              <a:rPr lang="en-US" b="0" i="0" dirty="0">
                <a:solidFill>
                  <a:srgbClr val="495365"/>
                </a:solidFill>
                <a:effectLst/>
                <a:latin typeface="Lato" panose="020F0502020204030203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5119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518" y="177133"/>
            <a:ext cx="6740628" cy="430759"/>
          </a:xfrm>
        </p:spPr>
        <p:txBody>
          <a:bodyPr/>
          <a:lstStyle/>
          <a:p>
            <a:r>
              <a:rPr lang="en-US" dirty="0"/>
              <a:t>Possible Reconstruction Approaches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C9F0ED-D4AF-E61B-2E3B-78B2A2FB26A3}"/>
              </a:ext>
            </a:extLst>
          </p:cNvPr>
          <p:cNvSpPr txBox="1"/>
          <p:nvPr/>
        </p:nvSpPr>
        <p:spPr>
          <a:xfrm>
            <a:off x="137883" y="1446829"/>
            <a:ext cx="2504866" cy="79208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pular methods for </a:t>
            </a:r>
          </a:p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lographic reconstruction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0281B28-9E70-61B2-9126-92794F19A62E}"/>
              </a:ext>
            </a:extLst>
          </p:cNvPr>
          <p:cNvCxnSpPr/>
          <p:nvPr/>
        </p:nvCxnSpPr>
        <p:spPr>
          <a:xfrm>
            <a:off x="2994991" y="1229494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97C6C72-D36D-AA85-2E13-DBC4EC1B232A}"/>
              </a:ext>
            </a:extLst>
          </p:cNvPr>
          <p:cNvCxnSpPr/>
          <p:nvPr/>
        </p:nvCxnSpPr>
        <p:spPr>
          <a:xfrm>
            <a:off x="2994991" y="1244349"/>
            <a:ext cx="8640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6E6753E-AEF1-7FDA-060F-BF4D1980D9F4}"/>
              </a:ext>
            </a:extLst>
          </p:cNvPr>
          <p:cNvCxnSpPr/>
          <p:nvPr/>
        </p:nvCxnSpPr>
        <p:spPr>
          <a:xfrm>
            <a:off x="3008623" y="2525638"/>
            <a:ext cx="8640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DF11B79-668F-381D-330A-2F0F993F133C}"/>
              </a:ext>
            </a:extLst>
          </p:cNvPr>
          <p:cNvCxnSpPr>
            <a:cxnSpLocks/>
          </p:cNvCxnSpPr>
          <p:nvPr/>
        </p:nvCxnSpPr>
        <p:spPr>
          <a:xfrm>
            <a:off x="2642750" y="1842873"/>
            <a:ext cx="352241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552557C-6922-93AC-14C1-F469EC7CF129}"/>
              </a:ext>
            </a:extLst>
          </p:cNvPr>
          <p:cNvSpPr txBox="1"/>
          <p:nvPr/>
        </p:nvSpPr>
        <p:spPr>
          <a:xfrm>
            <a:off x="3874431" y="1065732"/>
            <a:ext cx="79133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ep learning: 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volutional neural networks (CNNs) , recurrent neural networks (RNNs) , generative adversarial models (GANs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3E8227A-10FB-1110-F881-619D03F3B969}"/>
              </a:ext>
            </a:extLst>
          </p:cNvPr>
          <p:cNvSpPr txBox="1"/>
          <p:nvPr/>
        </p:nvSpPr>
        <p:spPr>
          <a:xfrm>
            <a:off x="3967757" y="1785539"/>
            <a:ext cx="5653647" cy="32679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y topic focuses on  deep learning methods 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466D429-91F8-CF51-3355-6118A4C77976}"/>
              </a:ext>
            </a:extLst>
          </p:cNvPr>
          <p:cNvSpPr txBox="1"/>
          <p:nvPr/>
        </p:nvSpPr>
        <p:spPr>
          <a:xfrm>
            <a:off x="3859087" y="2315521"/>
            <a:ext cx="25907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erative optimization:</a:t>
            </a:r>
          </a:p>
        </p:txBody>
      </p:sp>
      <p:sp>
        <p:nvSpPr>
          <p:cNvPr id="84" name="TextBox 9">
            <a:extLst>
              <a:ext uri="{FF2B5EF4-FFF2-40B4-BE49-F238E27FC236}">
                <a16:creationId xmlns:a16="http://schemas.microsoft.com/office/drawing/2014/main" id="{D4B86AF2-BDE7-146E-A830-0DDA2650E4AD}"/>
              </a:ext>
            </a:extLst>
          </p:cNvPr>
          <p:cNvSpPr txBox="1"/>
          <p:nvPr/>
        </p:nvSpPr>
        <p:spPr>
          <a:xfrm>
            <a:off x="2951749" y="3282050"/>
            <a:ext cx="1716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Sample plane</a:t>
            </a:r>
            <a:endParaRPr lang="en-US" sz="1400" dirty="0"/>
          </a:p>
        </p:txBody>
      </p:sp>
      <p:sp>
        <p:nvSpPr>
          <p:cNvPr id="85" name="Parallelogram 84">
            <a:extLst>
              <a:ext uri="{FF2B5EF4-FFF2-40B4-BE49-F238E27FC236}">
                <a16:creationId xmlns:a16="http://schemas.microsoft.com/office/drawing/2014/main" id="{31611307-CC90-2915-B2C5-FC27A680A994}"/>
              </a:ext>
            </a:extLst>
          </p:cNvPr>
          <p:cNvSpPr/>
          <p:nvPr/>
        </p:nvSpPr>
        <p:spPr>
          <a:xfrm rot="20456541">
            <a:off x="2957326" y="3845302"/>
            <a:ext cx="1830786" cy="1839161"/>
          </a:xfrm>
          <a:prstGeom prst="parallelogram">
            <a:avLst>
              <a:gd name="adj" fmla="val 37486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86" name="Graphic 11" descr="Apple with solid fill">
            <a:extLst>
              <a:ext uri="{FF2B5EF4-FFF2-40B4-BE49-F238E27FC236}">
                <a16:creationId xmlns:a16="http://schemas.microsoft.com/office/drawing/2014/main" id="{F2023A8C-517F-5071-94E7-F4FB2D8BC6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50060" y="4289146"/>
            <a:ext cx="914400" cy="914400"/>
          </a:xfrm>
          <a:prstGeom prst="rect">
            <a:avLst/>
          </a:prstGeom>
        </p:spPr>
      </p:pic>
      <p:sp>
        <p:nvSpPr>
          <p:cNvPr id="87" name="Parallelogram 86">
            <a:extLst>
              <a:ext uri="{FF2B5EF4-FFF2-40B4-BE49-F238E27FC236}">
                <a16:creationId xmlns:a16="http://schemas.microsoft.com/office/drawing/2014/main" id="{8E6F9324-8CB0-0855-9498-3B2215009274}"/>
              </a:ext>
            </a:extLst>
          </p:cNvPr>
          <p:cNvSpPr/>
          <p:nvPr/>
        </p:nvSpPr>
        <p:spPr>
          <a:xfrm rot="20456541">
            <a:off x="6801163" y="3847055"/>
            <a:ext cx="1830786" cy="1839161"/>
          </a:xfrm>
          <a:prstGeom prst="parallelogram">
            <a:avLst>
              <a:gd name="adj" fmla="val 37486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88" name="TextBox 13">
            <a:extLst>
              <a:ext uri="{FF2B5EF4-FFF2-40B4-BE49-F238E27FC236}">
                <a16:creationId xmlns:a16="http://schemas.microsoft.com/office/drawing/2014/main" id="{F837F786-588F-8963-506B-120532D0D1F4}"/>
              </a:ext>
            </a:extLst>
          </p:cNvPr>
          <p:cNvSpPr txBox="1"/>
          <p:nvPr/>
        </p:nvSpPr>
        <p:spPr>
          <a:xfrm>
            <a:off x="7165199" y="3287279"/>
            <a:ext cx="1716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Detector plane</a:t>
            </a:r>
            <a:endParaRPr lang="en-US" sz="1400" dirty="0"/>
          </a:p>
        </p:txBody>
      </p:sp>
      <p:pic>
        <p:nvPicPr>
          <p:cNvPr id="89" name="Graphic 14" descr="Apple with solid fill">
            <a:extLst>
              <a:ext uri="{FF2B5EF4-FFF2-40B4-BE49-F238E27FC236}">
                <a16:creationId xmlns:a16="http://schemas.microsoft.com/office/drawing/2014/main" id="{5D216C93-1375-7E17-23AF-CF192B2233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9355" y="4307682"/>
            <a:ext cx="914400" cy="914400"/>
          </a:xfrm>
          <a:prstGeom prst="rect">
            <a:avLst/>
          </a:prstGeom>
        </p:spPr>
      </p:pic>
      <p:pic>
        <p:nvPicPr>
          <p:cNvPr id="90" name="Graphic 15" descr="Apple with solid fill">
            <a:extLst>
              <a:ext uri="{FF2B5EF4-FFF2-40B4-BE49-F238E27FC236}">
                <a16:creationId xmlns:a16="http://schemas.microsoft.com/office/drawing/2014/main" id="{6FC37587-DBFA-4474-7EFF-C57AD142A9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86067" y="4334394"/>
            <a:ext cx="860975" cy="860975"/>
          </a:xfrm>
          <a:prstGeom prst="rect">
            <a:avLst/>
          </a:prstGeom>
        </p:spPr>
      </p:pic>
      <p:pic>
        <p:nvPicPr>
          <p:cNvPr id="91" name="Graphic 16" descr="Apple with solid fill">
            <a:extLst>
              <a:ext uri="{FF2B5EF4-FFF2-40B4-BE49-F238E27FC236}">
                <a16:creationId xmlns:a16="http://schemas.microsoft.com/office/drawing/2014/main" id="{21AD1056-0F93-7B68-F7C4-813FF6AD43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99422" y="4347749"/>
            <a:ext cx="834263" cy="834263"/>
          </a:xfrm>
          <a:prstGeom prst="rect">
            <a:avLst/>
          </a:prstGeom>
        </p:spPr>
      </p:pic>
      <p:pic>
        <p:nvPicPr>
          <p:cNvPr id="92" name="Graphic 17" descr="Apple with solid fill">
            <a:extLst>
              <a:ext uri="{FF2B5EF4-FFF2-40B4-BE49-F238E27FC236}">
                <a16:creationId xmlns:a16="http://schemas.microsoft.com/office/drawing/2014/main" id="{9F7A4CB3-1777-10BF-7773-BECAE16049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28172" y="4378328"/>
            <a:ext cx="773103" cy="773103"/>
          </a:xfrm>
          <a:prstGeom prst="rect">
            <a:avLst/>
          </a:prstGeom>
        </p:spPr>
      </p:pic>
      <p:pic>
        <p:nvPicPr>
          <p:cNvPr id="93" name="Graphic 18" descr="Apple with solid fill">
            <a:extLst>
              <a:ext uri="{FF2B5EF4-FFF2-40B4-BE49-F238E27FC236}">
                <a16:creationId xmlns:a16="http://schemas.microsoft.com/office/drawing/2014/main" id="{BB5A986E-E322-5170-60BB-A7C378C74B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39142" y="4364971"/>
            <a:ext cx="744183" cy="744183"/>
          </a:xfrm>
          <a:prstGeom prst="rect">
            <a:avLst/>
          </a:prstGeom>
        </p:spPr>
      </p:pic>
      <p:pic>
        <p:nvPicPr>
          <p:cNvPr id="94" name="Graphic 19" descr="Apple with solid fill">
            <a:extLst>
              <a:ext uri="{FF2B5EF4-FFF2-40B4-BE49-F238E27FC236}">
                <a16:creationId xmlns:a16="http://schemas.microsoft.com/office/drawing/2014/main" id="{3F134739-5BA0-A18C-567A-1673EE1B68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78615" y="4404444"/>
            <a:ext cx="704710" cy="704710"/>
          </a:xfrm>
          <a:prstGeom prst="rect">
            <a:avLst/>
          </a:prstGeom>
        </p:spPr>
      </p:pic>
      <p:pic>
        <p:nvPicPr>
          <p:cNvPr id="95" name="Graphic 20" descr="Apple with solid fill">
            <a:extLst>
              <a:ext uri="{FF2B5EF4-FFF2-40B4-BE49-F238E27FC236}">
                <a16:creationId xmlns:a16="http://schemas.microsoft.com/office/drawing/2014/main" id="{1C850DAF-1D53-97CB-7FD9-CE7BE39F67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78615" y="4407049"/>
            <a:ext cx="678594" cy="678594"/>
          </a:xfrm>
          <a:prstGeom prst="rect">
            <a:avLst/>
          </a:prstGeom>
        </p:spPr>
      </p:pic>
      <p:sp>
        <p:nvSpPr>
          <p:cNvPr id="96" name="TextBox 29">
            <a:extLst>
              <a:ext uri="{FF2B5EF4-FFF2-40B4-BE49-F238E27FC236}">
                <a16:creationId xmlns:a16="http://schemas.microsoft.com/office/drawing/2014/main" id="{F58FCA9B-BAF2-41AD-45FE-F72C08881CDD}"/>
              </a:ext>
            </a:extLst>
          </p:cNvPr>
          <p:cNvSpPr txBox="1"/>
          <p:nvPr/>
        </p:nvSpPr>
        <p:spPr>
          <a:xfrm>
            <a:off x="8127396" y="3775636"/>
            <a:ext cx="12877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2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6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/>
              <a:t>Hologram</a:t>
            </a:r>
            <a:endParaRPr lang="en-US" sz="1200" dirty="0"/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1B5A06EF-E0EB-6F06-CFC0-E304FDAEAB74}"/>
              </a:ext>
            </a:extLst>
          </p:cNvPr>
          <p:cNvCxnSpPr>
            <a:stCxn id="96" idx="2"/>
            <a:endCxn id="95" idx="3"/>
          </p:cNvCxnSpPr>
          <p:nvPr/>
        </p:nvCxnSpPr>
        <p:spPr>
          <a:xfrm flipH="1">
            <a:off x="8057209" y="4085953"/>
            <a:ext cx="785499" cy="6937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57BC33A-711C-1003-E977-E6B1AC00F56D}"/>
              </a:ext>
            </a:extLst>
          </p:cNvPr>
          <p:cNvCxnSpPr>
            <a:cxnSpLocks/>
          </p:cNvCxnSpPr>
          <p:nvPr/>
        </p:nvCxnSpPr>
        <p:spPr>
          <a:xfrm>
            <a:off x="4143037" y="5753271"/>
            <a:ext cx="296418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lg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9" name="TextBox 42">
                <a:extLst>
                  <a:ext uri="{FF2B5EF4-FFF2-40B4-BE49-F238E27FC236}">
                    <a16:creationId xmlns:a16="http://schemas.microsoft.com/office/drawing/2014/main" id="{EFA16246-FD6D-AFFD-7D00-DAF877429E6D}"/>
                  </a:ext>
                </a:extLst>
              </p:cNvPr>
              <p:cNvSpPr txBox="1"/>
              <p:nvPr/>
            </p:nvSpPr>
            <p:spPr>
              <a:xfrm>
                <a:off x="5433422" y="5692896"/>
                <a:ext cx="36677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9" name="TextBox 42">
                <a:extLst>
                  <a:ext uri="{FF2B5EF4-FFF2-40B4-BE49-F238E27FC236}">
                    <a16:creationId xmlns:a16="http://schemas.microsoft.com/office/drawing/2014/main" id="{EFA16246-FD6D-AFFD-7D00-DAF877429E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3422" y="5692896"/>
                <a:ext cx="366774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0" name="Graphic 47" descr="Apple with solid fill">
            <a:extLst>
              <a:ext uri="{FF2B5EF4-FFF2-40B4-BE49-F238E27FC236}">
                <a16:creationId xmlns:a16="http://schemas.microsoft.com/office/drawing/2014/main" id="{30DFBF3F-1BAC-69C5-F89C-D1655FEEA5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78615" y="4416315"/>
            <a:ext cx="655193" cy="655193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8511066-9068-9B35-A5DF-2C3CE7C4FC07}"/>
              </a:ext>
            </a:extLst>
          </p:cNvPr>
          <p:cNvGrpSpPr/>
          <p:nvPr/>
        </p:nvGrpSpPr>
        <p:grpSpPr>
          <a:xfrm>
            <a:off x="4481543" y="3289335"/>
            <a:ext cx="6908114" cy="2518895"/>
            <a:chOff x="4674286" y="3121524"/>
            <a:chExt cx="6908114" cy="2518895"/>
          </a:xfrm>
        </p:grpSpPr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CEBB79E1-4095-91E8-5D2D-DA1B2D4A4456}"/>
                </a:ext>
              </a:extLst>
            </p:cNvPr>
            <p:cNvCxnSpPr/>
            <p:nvPr/>
          </p:nvCxnSpPr>
          <p:spPr>
            <a:xfrm>
              <a:off x="4709160" y="4121335"/>
              <a:ext cx="2590800" cy="18536"/>
            </a:xfrm>
            <a:prstGeom prst="straightConnector1">
              <a:avLst/>
            </a:prstGeom>
            <a:ln w="76200">
              <a:solidFill>
                <a:srgbClr val="00B05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79">
              <a:extLst>
                <a:ext uri="{FF2B5EF4-FFF2-40B4-BE49-F238E27FC236}">
                  <a16:creationId xmlns:a16="http://schemas.microsoft.com/office/drawing/2014/main" id="{7E88D909-B192-46BF-7749-0993038AE8CC}"/>
                </a:ext>
              </a:extLst>
            </p:cNvPr>
            <p:cNvSpPr txBox="1"/>
            <p:nvPr/>
          </p:nvSpPr>
          <p:spPr>
            <a:xfrm>
              <a:off x="5314881" y="3791769"/>
              <a:ext cx="12877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51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02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54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05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56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07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58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209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200" dirty="0">
                  <a:solidFill>
                    <a:srgbClr val="00B050"/>
                  </a:solidFill>
                </a:rPr>
                <a:t>Propagation</a:t>
              </a:r>
              <a:endParaRPr lang="en-US" sz="1200" dirty="0">
                <a:solidFill>
                  <a:srgbClr val="00B050"/>
                </a:solidFill>
              </a:endParaRP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D38D0786-3709-5E98-1301-E69BFE2247B5}"/>
                </a:ext>
              </a:extLst>
            </p:cNvPr>
            <p:cNvSpPr/>
            <p:nvPr/>
          </p:nvSpPr>
          <p:spPr>
            <a:xfrm>
              <a:off x="9428668" y="3516650"/>
              <a:ext cx="2153732" cy="2123769"/>
            </a:xfrm>
            <a:prstGeom prst="roundRect">
              <a:avLst>
                <a:gd name="adj" fmla="val 10567"/>
              </a:avLst>
            </a:prstGeom>
            <a:ln w="38100">
              <a:solidFill>
                <a:srgbClr val="00B050"/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151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302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454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605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5756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2907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058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209" algn="l" defTabSz="914302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105" name="Graphic 81" descr="Table tennis paddle and ball with solid fill">
              <a:extLst>
                <a:ext uri="{FF2B5EF4-FFF2-40B4-BE49-F238E27FC236}">
                  <a16:creationId xmlns:a16="http://schemas.microsoft.com/office/drawing/2014/main" id="{202C4D61-1142-AD48-85FF-71F3FDB4D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flipH="1">
              <a:off x="4674286" y="3121524"/>
              <a:ext cx="624800" cy="624800"/>
            </a:xfrm>
            <a:prstGeom prst="rect">
              <a:avLst/>
            </a:prstGeom>
          </p:spPr>
        </p:pic>
        <p:sp>
          <p:nvSpPr>
            <p:cNvPr id="106" name="TextBox 82">
              <a:extLst>
                <a:ext uri="{FF2B5EF4-FFF2-40B4-BE49-F238E27FC236}">
                  <a16:creationId xmlns:a16="http://schemas.microsoft.com/office/drawing/2014/main" id="{5E4FE506-FA41-ADBE-3057-EF41E5C4A6C6}"/>
                </a:ext>
              </a:extLst>
            </p:cNvPr>
            <p:cNvSpPr txBox="1"/>
            <p:nvPr/>
          </p:nvSpPr>
          <p:spPr>
            <a:xfrm>
              <a:off x="9649972" y="3551872"/>
              <a:ext cx="171112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51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02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54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05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56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07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58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209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100" b="1" dirty="0">
                  <a:solidFill>
                    <a:srgbClr val="00B050"/>
                  </a:solidFill>
                </a:rPr>
                <a:t>Enforce detector domain constraints</a:t>
              </a:r>
              <a:endParaRPr lang="en-US" sz="1100" b="1" dirty="0">
                <a:solidFill>
                  <a:srgbClr val="00B050"/>
                </a:solidFill>
              </a:endParaRPr>
            </a:p>
          </p:txBody>
        </p:sp>
        <p:sp>
          <p:nvSpPr>
            <p:cNvPr id="107" name="TextBox 83">
              <a:extLst>
                <a:ext uri="{FF2B5EF4-FFF2-40B4-BE49-F238E27FC236}">
                  <a16:creationId xmlns:a16="http://schemas.microsoft.com/office/drawing/2014/main" id="{0FDFB586-D0A9-35A3-F0B9-C09767875595}"/>
                </a:ext>
              </a:extLst>
            </p:cNvPr>
            <p:cNvSpPr txBox="1"/>
            <p:nvPr/>
          </p:nvSpPr>
          <p:spPr>
            <a:xfrm>
              <a:off x="9490697" y="4350327"/>
              <a:ext cx="199264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51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02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54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05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56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07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58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209" algn="l" defTabSz="91430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de-DE" sz="1100" dirty="0">
                  <a:solidFill>
                    <a:srgbClr val="00B050"/>
                  </a:solidFill>
                </a:rPr>
                <a:t>Match amplitude with measured intensity.</a:t>
              </a:r>
              <a:endParaRPr lang="en-US" sz="1100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8803F162-9716-B120-ECB8-1EE387FFE5C8}"/>
              </a:ext>
            </a:extLst>
          </p:cNvPr>
          <p:cNvGrpSpPr/>
          <p:nvPr/>
        </p:nvGrpSpPr>
        <p:grpSpPr>
          <a:xfrm>
            <a:off x="714829" y="3289335"/>
            <a:ext cx="6571238" cy="2516462"/>
            <a:chOff x="907572" y="3121524"/>
            <a:chExt cx="6571238" cy="2516462"/>
          </a:xfrm>
        </p:grpSpPr>
        <p:pic>
          <p:nvPicPr>
            <p:cNvPr id="109" name="Graphic 92" descr="Table tennis paddle and ball with solid fill">
              <a:extLst>
                <a:ext uri="{FF2B5EF4-FFF2-40B4-BE49-F238E27FC236}">
                  <a16:creationId xmlns:a16="http://schemas.microsoft.com/office/drawing/2014/main" id="{9E3E1FA8-C47C-D1E0-9E58-9F1DBBAD7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54010" y="3121524"/>
              <a:ext cx="624800" cy="624800"/>
            </a:xfrm>
            <a:prstGeom prst="rect">
              <a:avLst/>
            </a:prstGeom>
          </p:spPr>
        </p:pic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C0D0944C-5BAC-788F-967A-C6241253B338}"/>
                </a:ext>
              </a:extLst>
            </p:cNvPr>
            <p:cNvGrpSpPr/>
            <p:nvPr/>
          </p:nvGrpSpPr>
          <p:grpSpPr>
            <a:xfrm>
              <a:off x="907572" y="3514217"/>
              <a:ext cx="6392388" cy="2123769"/>
              <a:chOff x="907572" y="3514217"/>
              <a:chExt cx="6392388" cy="2123769"/>
            </a:xfrm>
          </p:grpSpPr>
          <p:cxnSp>
            <p:nvCxnSpPr>
              <p:cNvPr id="111" name="Straight Arrow Connector 110">
                <a:extLst>
                  <a:ext uri="{FF2B5EF4-FFF2-40B4-BE49-F238E27FC236}">
                    <a16:creationId xmlns:a16="http://schemas.microsoft.com/office/drawing/2014/main" id="{3319B9BB-02CE-D6A9-CDCB-9C609C10AE8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69628" y="4917832"/>
                <a:ext cx="2630332" cy="0"/>
              </a:xfrm>
              <a:prstGeom prst="straightConnector1">
                <a:avLst/>
              </a:prstGeom>
              <a:ln w="76200">
                <a:solidFill>
                  <a:srgbClr val="0C7BFF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2" name="TextBox 95">
                <a:extLst>
                  <a:ext uri="{FF2B5EF4-FFF2-40B4-BE49-F238E27FC236}">
                    <a16:creationId xmlns:a16="http://schemas.microsoft.com/office/drawing/2014/main" id="{E10A1FD1-DE0F-E4B3-1B86-C985C6B96F56}"/>
                  </a:ext>
                </a:extLst>
              </p:cNvPr>
              <p:cNvSpPr txBox="1"/>
              <p:nvPr/>
            </p:nvSpPr>
            <p:spPr>
              <a:xfrm>
                <a:off x="5230944" y="4569251"/>
                <a:ext cx="156622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200" dirty="0">
                    <a:solidFill>
                      <a:srgbClr val="0C7BFF"/>
                    </a:solidFill>
                  </a:rPr>
                  <a:t>Back-propagation</a:t>
                </a:r>
                <a:endParaRPr lang="en-US" sz="1200" dirty="0">
                  <a:solidFill>
                    <a:srgbClr val="0C7BFF"/>
                  </a:solidFill>
                </a:endParaRPr>
              </a:p>
            </p:txBody>
          </p:sp>
          <p:sp>
            <p:nvSpPr>
              <p:cNvPr id="113" name="Rectangle: Rounded Corners 112">
                <a:extLst>
                  <a:ext uri="{FF2B5EF4-FFF2-40B4-BE49-F238E27FC236}">
                    <a16:creationId xmlns:a16="http://schemas.microsoft.com/office/drawing/2014/main" id="{8B6D49B0-F2BC-1C9C-37B3-A9572A021693}"/>
                  </a:ext>
                </a:extLst>
              </p:cNvPr>
              <p:cNvSpPr/>
              <p:nvPr/>
            </p:nvSpPr>
            <p:spPr>
              <a:xfrm>
                <a:off x="907572" y="3514217"/>
                <a:ext cx="2153732" cy="2123769"/>
              </a:xfrm>
              <a:prstGeom prst="roundRect">
                <a:avLst>
                  <a:gd name="adj" fmla="val 10567"/>
                </a:avLst>
              </a:prstGeom>
              <a:ln w="38100">
                <a:solidFill>
                  <a:srgbClr val="0C7BFF"/>
                </a:solidFill>
                <a:prstDash val="sysDash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14" name="TextBox 97">
                <a:extLst>
                  <a:ext uri="{FF2B5EF4-FFF2-40B4-BE49-F238E27FC236}">
                    <a16:creationId xmlns:a16="http://schemas.microsoft.com/office/drawing/2014/main" id="{ED73448E-0892-C47F-FCB7-8BA2F612B16D}"/>
                  </a:ext>
                </a:extLst>
              </p:cNvPr>
              <p:cNvSpPr txBox="1"/>
              <p:nvPr/>
            </p:nvSpPr>
            <p:spPr>
              <a:xfrm>
                <a:off x="1138497" y="3556149"/>
                <a:ext cx="1711123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100" b="1" dirty="0">
                    <a:solidFill>
                      <a:srgbClr val="0C7BFF"/>
                    </a:solidFill>
                  </a:rPr>
                  <a:t>Enforce object domain constraints</a:t>
                </a:r>
                <a:endParaRPr lang="en-US" sz="1100" b="1" dirty="0">
                  <a:solidFill>
                    <a:srgbClr val="0C7BFF"/>
                  </a:solidFill>
                </a:endParaRPr>
              </a:p>
            </p:txBody>
          </p:sp>
          <p:sp>
            <p:nvSpPr>
              <p:cNvPr id="115" name="TextBox 98">
                <a:extLst>
                  <a:ext uri="{FF2B5EF4-FFF2-40B4-BE49-F238E27FC236}">
                    <a16:creationId xmlns:a16="http://schemas.microsoft.com/office/drawing/2014/main" id="{0762D55D-2568-B7A6-56F9-143804990F0D}"/>
                  </a:ext>
                </a:extLst>
              </p:cNvPr>
              <p:cNvSpPr txBox="1"/>
              <p:nvPr/>
            </p:nvSpPr>
            <p:spPr>
              <a:xfrm>
                <a:off x="1076432" y="4391128"/>
                <a:ext cx="1711123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51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02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54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605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756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907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058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209" algn="l" defTabSz="914302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buFont typeface="Wingdings" panose="05000000000000000000" pitchFamily="2" charset="2"/>
                  <a:buChar char="ü"/>
                </a:pPr>
                <a:r>
                  <a:rPr lang="de-DE" sz="1100" dirty="0">
                    <a:solidFill>
                      <a:srgbClr val="0C7BFF"/>
                    </a:solidFill>
                  </a:rPr>
                  <a:t>Positive absorption constraint.</a:t>
                </a:r>
              </a:p>
              <a:p>
                <a:pPr marL="171450" indent="-171450">
                  <a:buFont typeface="Wingdings" panose="05000000000000000000" pitchFamily="2" charset="2"/>
                  <a:buChar char="ü"/>
                </a:pPr>
                <a:r>
                  <a:rPr lang="de-DE" sz="1100" dirty="0">
                    <a:solidFill>
                      <a:srgbClr val="0C7BFF"/>
                    </a:solidFill>
                  </a:rPr>
                  <a:t>Filtering mask</a:t>
                </a:r>
              </a:p>
              <a:p>
                <a:pPr marL="171450" indent="-171450">
                  <a:buFont typeface="Wingdings" panose="05000000000000000000" pitchFamily="2" charset="2"/>
                  <a:buChar char="ü"/>
                </a:pPr>
                <a:r>
                  <a:rPr lang="de-DE" sz="1100" dirty="0">
                    <a:solidFill>
                      <a:srgbClr val="0C7BFF"/>
                    </a:solidFill>
                  </a:rPr>
                  <a:t>Denoising prior</a:t>
                </a:r>
              </a:p>
              <a:p>
                <a:pPr marL="171450" indent="-171450">
                  <a:buFont typeface="Wingdings" panose="05000000000000000000" pitchFamily="2" charset="2"/>
                  <a:buChar char="ü"/>
                </a:pPr>
                <a:r>
                  <a:rPr lang="de-DE" sz="1100" dirty="0">
                    <a:solidFill>
                      <a:srgbClr val="0C7BFF"/>
                    </a:solidFill>
                  </a:rPr>
                  <a:t>Sparsity</a:t>
                </a:r>
              </a:p>
              <a:p>
                <a:endParaRPr lang="en-US" sz="1100" dirty="0">
                  <a:solidFill>
                    <a:srgbClr val="0C7BFF"/>
                  </a:solidFill>
                </a:endParaRPr>
              </a:p>
            </p:txBody>
          </p:sp>
        </p:grpSp>
      </p:grpSp>
      <p:pic>
        <p:nvPicPr>
          <p:cNvPr id="116" name="Graphic 100" descr="Apple with solid fill">
            <a:extLst>
              <a:ext uri="{FF2B5EF4-FFF2-40B4-BE49-F238E27FC236}">
                <a16:creationId xmlns:a16="http://schemas.microsoft.com/office/drawing/2014/main" id="{A70DD2AD-A700-CC3D-6D32-31CE55992A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20511" y="4430413"/>
            <a:ext cx="613297" cy="613297"/>
          </a:xfrm>
          <a:prstGeom prst="rect">
            <a:avLst/>
          </a:prstGeom>
        </p:spPr>
      </p:pic>
      <p:pic>
        <p:nvPicPr>
          <p:cNvPr id="117" name="Graphic 6" descr="Apple with solid fill">
            <a:extLst>
              <a:ext uri="{FF2B5EF4-FFF2-40B4-BE49-F238E27FC236}">
                <a16:creationId xmlns:a16="http://schemas.microsoft.com/office/drawing/2014/main" id="{2AAE15F2-9F34-1ED0-38EC-A5CF8368A2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75546" y="4206221"/>
            <a:ext cx="1103225" cy="1103225"/>
          </a:xfrm>
          <a:prstGeom prst="rect">
            <a:avLst/>
          </a:prstGeom>
        </p:spPr>
      </p:pic>
      <p:pic>
        <p:nvPicPr>
          <p:cNvPr id="118" name="Graphic 7" descr="Apple with solid fill">
            <a:extLst>
              <a:ext uri="{FF2B5EF4-FFF2-40B4-BE49-F238E27FC236}">
                <a16:creationId xmlns:a16="http://schemas.microsoft.com/office/drawing/2014/main" id="{61F42835-7DE9-9AE2-E344-63755B4FDA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07217" y="4098079"/>
            <a:ext cx="1265972" cy="1265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51249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EFA6B-1E87-D2E3-67F1-55C72A705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300" y="405865"/>
            <a:ext cx="4937249" cy="430759"/>
          </a:xfrm>
        </p:spPr>
        <p:txBody>
          <a:bodyPr/>
          <a:lstStyle/>
          <a:p>
            <a:r>
              <a:rPr lang="en-US" dirty="0"/>
              <a:t>Method: Propose Cross-Net</a:t>
            </a:r>
          </a:p>
        </p:txBody>
      </p:sp>
      <p:graphicFrame>
        <p:nvGraphicFramePr>
          <p:cNvPr id="41" name="Table 41">
            <a:extLst>
              <a:ext uri="{FF2B5EF4-FFF2-40B4-BE49-F238E27FC236}">
                <a16:creationId xmlns:a16="http://schemas.microsoft.com/office/drawing/2014/main" id="{E8484475-445E-90FC-CE0B-B5DBED8F931B}"/>
              </a:ext>
            </a:extLst>
          </p:cNvPr>
          <p:cNvGraphicFramePr>
            <a:graphicFrameLocks noGrp="1"/>
          </p:cNvGraphicFramePr>
          <p:nvPr/>
        </p:nvGraphicFramePr>
        <p:xfrm>
          <a:off x="1058615" y="2204864"/>
          <a:ext cx="9694668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0707">
                  <a:extLst>
                    <a:ext uri="{9D8B030D-6E8A-4147-A177-3AD203B41FA5}">
                      <a16:colId xmlns:a16="http://schemas.microsoft.com/office/drawing/2014/main" val="1288531711"/>
                    </a:ext>
                  </a:extLst>
                </a:gridCol>
                <a:gridCol w="2452405">
                  <a:extLst>
                    <a:ext uri="{9D8B030D-6E8A-4147-A177-3AD203B41FA5}">
                      <a16:colId xmlns:a16="http://schemas.microsoft.com/office/drawing/2014/main" val="2868275351"/>
                    </a:ext>
                  </a:extLst>
                </a:gridCol>
                <a:gridCol w="3231556">
                  <a:extLst>
                    <a:ext uri="{9D8B030D-6E8A-4147-A177-3AD203B41FA5}">
                      <a16:colId xmlns:a16="http://schemas.microsoft.com/office/drawing/2014/main" val="3672088750"/>
                    </a:ext>
                  </a:extLst>
                </a:gridCol>
              </a:tblGrid>
              <a:tr h="326965">
                <a:tc>
                  <a:txBody>
                    <a:bodyPr/>
                    <a:lstStyle/>
                    <a:p>
                      <a:endParaRPr kumimoji="1" lang="en-US" sz="18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ViT</a:t>
                      </a:r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Cross-N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982563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construction branch siz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43.2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10.5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911498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gression branch siz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19.1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7.5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6090945"/>
                  </a:ext>
                </a:extLst>
              </a:tr>
              <a:tr h="326965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construction latent vector sha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64, 768]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768, 8, 8]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164434"/>
                  </a:ext>
                </a:extLst>
              </a:tr>
              <a:tr h="261430">
                <a:tc>
                  <a:txBody>
                    <a:bodyPr/>
                    <a:lstStyle/>
                    <a:p>
                      <a:r>
                        <a:rPr kumimoji="1" lang="en-US" sz="18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Regression latent sha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7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256, 512] </a:t>
                      </a:r>
                    </a:p>
                    <a:p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7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ＭＳ Ｐゴシック" charset="-128"/>
                          <a:cs typeface="Times New Roman" panose="02020603050405020304" pitchFamily="18" charset="0"/>
                        </a:rPr>
                        <a:t>[B, 512, 16, 16] </a:t>
                      </a:r>
                    </a:p>
                    <a:p>
                      <a:endParaRPr kumimoji="1" lang="en-US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ＭＳ Ｐゴシック" charset="-128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924439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51AE009E-5410-572B-12BC-E4CEF533770E}"/>
              </a:ext>
            </a:extLst>
          </p:cNvPr>
          <p:cNvSpPr txBox="1"/>
          <p:nvPr/>
        </p:nvSpPr>
        <p:spPr>
          <a:xfrm>
            <a:off x="3290863" y="4797152"/>
            <a:ext cx="60982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on of </a:t>
            </a:r>
            <a:r>
              <a:rPr lang="en-US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T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Cross-Net used for later experiment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5402F54-E761-0238-33E5-2DE83D2A0F77}"/>
              </a:ext>
            </a:extLst>
          </p:cNvPr>
          <p:cNvSpPr txBox="1"/>
          <p:nvPr/>
        </p:nvSpPr>
        <p:spPr>
          <a:xfrm>
            <a:off x="1130623" y="5623219"/>
            <a:ext cx="273630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effectLst/>
                <a:latin typeface="Arial" panose="020B0604020202020204" pitchFamily="34" charset="0"/>
              </a:rPr>
              <a:t>Ross Wightman, “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Pytorch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image mod-</a:t>
            </a:r>
            <a:br>
              <a:rPr lang="en-US" sz="1000" dirty="0"/>
            </a:br>
            <a:r>
              <a:rPr lang="en-US" sz="1000" b="0" i="0" dirty="0" err="1">
                <a:effectLst/>
                <a:latin typeface="Arial" panose="020B0604020202020204" pitchFamily="34" charset="0"/>
              </a:rPr>
              <a:t>els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” </a:t>
            </a:r>
            <a:r>
              <a:rPr lang="en-US" sz="1000" b="0" i="0" dirty="0">
                <a:effectLst/>
                <a:latin typeface="Courier New" panose="02070309020205020404" pitchFamily="49" charset="0"/>
              </a:rPr>
              <a:t>https://github.com/rwightman/</a:t>
            </a:r>
            <a:br>
              <a:rPr lang="en-US" sz="1000" dirty="0"/>
            </a:br>
            <a:r>
              <a:rPr lang="en-US" sz="1000" b="0" i="0" dirty="0" err="1">
                <a:effectLst/>
                <a:latin typeface="Courier New" panose="02070309020205020404" pitchFamily="49" charset="0"/>
              </a:rPr>
              <a:t>pytorch</a:t>
            </a:r>
            <a:r>
              <a:rPr lang="en-US" sz="1000" b="0" i="0" dirty="0">
                <a:effectLst/>
                <a:latin typeface="Courier New" panose="02070309020205020404" pitchFamily="49" charset="0"/>
              </a:rPr>
              <a:t>-image-models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2019.</a:t>
            </a:r>
            <a:endParaRPr lang="en-US" sz="10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FFEEE14-A57B-4365-792E-CC8D08CBF34C}"/>
              </a:ext>
            </a:extLst>
          </p:cNvPr>
          <p:cNvSpPr txBox="1"/>
          <p:nvPr/>
        </p:nvSpPr>
        <p:spPr>
          <a:xfrm>
            <a:off x="4010943" y="5445224"/>
            <a:ext cx="6098274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 err="1">
                <a:effectLst/>
                <a:latin typeface="Arial" panose="020B0604020202020204" pitchFamily="34" charset="0"/>
              </a:rPr>
              <a:t>Kaiming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He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Xinlei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Chen, Saining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Xie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Yanghao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Li, Pi-</a:t>
            </a:r>
            <a:br>
              <a:rPr lang="en-US" sz="1000" dirty="0"/>
            </a:br>
            <a:r>
              <a:rPr lang="en-US" sz="1000" b="0" i="0" dirty="0" err="1">
                <a:effectLst/>
                <a:latin typeface="Arial" panose="020B0604020202020204" pitchFamily="34" charset="0"/>
              </a:rPr>
              <a:t>otr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 Doll ́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ar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and Ross </a:t>
            </a:r>
            <a:r>
              <a:rPr lang="en-US" sz="1000" b="0" i="0" dirty="0" err="1">
                <a:effectLst/>
                <a:latin typeface="Arial" panose="020B0604020202020204" pitchFamily="34" charset="0"/>
              </a:rPr>
              <a:t>Girshick</a:t>
            </a:r>
            <a:r>
              <a:rPr lang="en-US" sz="1000" b="0" i="0" dirty="0">
                <a:effectLst/>
                <a:latin typeface="Arial" panose="020B0604020202020204" pitchFamily="34" charset="0"/>
              </a:rPr>
              <a:t>, “Masked autoencoders</a:t>
            </a:r>
            <a:br>
              <a:rPr lang="en-US" sz="1000" dirty="0"/>
            </a:br>
            <a:r>
              <a:rPr lang="en-US" sz="1000" b="0" i="0" dirty="0">
                <a:effectLst/>
                <a:latin typeface="Arial" panose="020B0604020202020204" pitchFamily="34" charset="0"/>
              </a:rPr>
              <a:t>are scalable vision learners,” in Proceedings of the</a:t>
            </a:r>
            <a:br>
              <a:rPr lang="en-US" sz="1000" dirty="0"/>
            </a:br>
            <a:r>
              <a:rPr lang="en-US" sz="1000" b="0" i="0" dirty="0">
                <a:effectLst/>
                <a:latin typeface="Arial" panose="020B0604020202020204" pitchFamily="34" charset="0"/>
              </a:rPr>
              <a:t>IEEE/CVF conference on computer vision and pattern</a:t>
            </a:r>
            <a:br>
              <a:rPr lang="en-US" sz="1000" dirty="0"/>
            </a:br>
            <a:r>
              <a:rPr lang="en-US" sz="1000" b="0" i="0" dirty="0">
                <a:effectLst/>
                <a:latin typeface="Arial" panose="020B0604020202020204" pitchFamily="34" charset="0"/>
              </a:rPr>
              <a:t>recognition, 2022, pp. 16000–16009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3130323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020B514-4C03-970D-C670-1229FA8183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607" y="5013176"/>
            <a:ext cx="8088155" cy="165485"/>
          </a:xfrm>
          <a:prstGeom prst="rect">
            <a:avLst/>
          </a:prstGeom>
        </p:spPr>
      </p:pic>
      <p:pic>
        <p:nvPicPr>
          <p:cNvPr id="6" name="Picture 5" descr="A collage of images of bacteria&#10;&#10;Description automatically generated">
            <a:extLst>
              <a:ext uri="{FF2B5EF4-FFF2-40B4-BE49-F238E27FC236}">
                <a16:creationId xmlns:a16="http://schemas.microsoft.com/office/drawing/2014/main" id="{0AF56792-8F45-8880-D803-CC75EA88C8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83" y="188640"/>
            <a:ext cx="9505056" cy="47525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59EAC2E-B253-1007-A44B-26E6FBFD940B}"/>
              </a:ext>
            </a:extLst>
          </p:cNvPr>
          <p:cNvSpPr/>
          <p:nvPr/>
        </p:nvSpPr>
        <p:spPr>
          <a:xfrm>
            <a:off x="8907487" y="1844824"/>
            <a:ext cx="1344893" cy="11623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6F5F31-0A60-D89D-3F18-16A76A545C86}"/>
              </a:ext>
            </a:extLst>
          </p:cNvPr>
          <p:cNvSpPr/>
          <p:nvPr/>
        </p:nvSpPr>
        <p:spPr>
          <a:xfrm>
            <a:off x="8835479" y="3379106"/>
            <a:ext cx="1344893" cy="1440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kumimoji="1"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AEB80D-C6F2-9BA6-51D1-8E3C8797A394}"/>
              </a:ext>
            </a:extLst>
          </p:cNvPr>
          <p:cNvSpPr txBox="1"/>
          <p:nvPr/>
        </p:nvSpPr>
        <p:spPr>
          <a:xfrm>
            <a:off x="8835479" y="1731344"/>
            <a:ext cx="1800200" cy="4594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Target amplitu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357F93-C399-2021-0AF4-6E1B23DF6153}"/>
              </a:ext>
            </a:extLst>
          </p:cNvPr>
          <p:cNvSpPr txBox="1"/>
          <p:nvPr/>
        </p:nvSpPr>
        <p:spPr>
          <a:xfrm>
            <a:off x="8979495" y="5020953"/>
            <a:ext cx="1800200" cy="4594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Target ph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D9D3E1-6B07-6793-B9D2-1B6C239B11FA}"/>
              </a:ext>
            </a:extLst>
          </p:cNvPr>
          <p:cNvSpPr txBox="1"/>
          <p:nvPr/>
        </p:nvSpPr>
        <p:spPr>
          <a:xfrm rot="16200000">
            <a:off x="-6900" y="2405106"/>
            <a:ext cx="1323924" cy="4594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 amplitu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8F5F2F-53B8-8C12-3719-F0C7755D8E16}"/>
              </a:ext>
            </a:extLst>
          </p:cNvPr>
          <p:cNvSpPr txBox="1"/>
          <p:nvPr/>
        </p:nvSpPr>
        <p:spPr>
          <a:xfrm rot="16200000">
            <a:off x="-149961" y="3857290"/>
            <a:ext cx="1580443" cy="4594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Reconstruction</a:t>
            </a:r>
          </a:p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 phas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3E8539-311B-10FC-98A1-42428126408E}"/>
              </a:ext>
            </a:extLst>
          </p:cNvPr>
          <p:cNvSpPr txBox="1"/>
          <p:nvPr/>
        </p:nvSpPr>
        <p:spPr>
          <a:xfrm rot="16200000">
            <a:off x="55804" y="560505"/>
            <a:ext cx="1580443" cy="4594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/>
              <a:t>Holograms</a:t>
            </a:r>
          </a:p>
        </p:txBody>
      </p:sp>
    </p:spTree>
    <p:extLst>
      <p:ext uri="{BB962C8B-B14F-4D97-AF65-F5344CB8AC3E}">
        <p14:creationId xmlns:p14="http://schemas.microsoft.com/office/powerpoint/2010/main" val="1902088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519" y="116632"/>
            <a:ext cx="918521" cy="430759"/>
          </a:xfrm>
        </p:spPr>
        <p:txBody>
          <a:bodyPr/>
          <a:lstStyle/>
          <a:p>
            <a:r>
              <a:rPr lang="en-US" dirty="0"/>
              <a:t>Goal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8EF2D6-A29C-B922-0ABB-2A37B23BC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9683" y="3307581"/>
            <a:ext cx="2400827" cy="200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9D123E9D-712A-52E5-7749-6D00F1A4B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13" y="1347336"/>
            <a:ext cx="2400826" cy="2003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CFEABF-F1BF-8FA5-63D9-4A9475F42634}"/>
                  </a:ext>
                </a:extLst>
              </p:cNvPr>
              <p:cNvSpPr txBox="1"/>
              <p:nvPr/>
            </p:nvSpPr>
            <p:spPr>
              <a:xfrm>
                <a:off x="9141034" y="1349486"/>
                <a:ext cx="148012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Phas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Φ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CFEABF-F1BF-8FA5-63D9-4A9475F42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1034" y="1349486"/>
                <a:ext cx="1480129" cy="461665"/>
              </a:xfrm>
              <a:prstGeom prst="rect">
                <a:avLst/>
              </a:prstGeom>
              <a:blipFill>
                <a:blip r:embed="rId4"/>
                <a:stretch>
                  <a:fillRect l="-6612" t="-9211" b="-3026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42187B0-8879-2BC6-D85C-39ABE97F0624}"/>
                  </a:ext>
                </a:extLst>
              </p:cNvPr>
              <p:cNvSpPr txBox="1"/>
              <p:nvPr/>
            </p:nvSpPr>
            <p:spPr>
              <a:xfrm>
                <a:off x="8951688" y="3386359"/>
                <a:ext cx="185882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dirty="0">
                    <a:solidFill>
                      <a:schemeClr val="bg1"/>
                    </a:solidFill>
                  </a:rPr>
                  <a:t>Amplitude 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42187B0-8879-2BC6-D85C-39ABE97F06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1688" y="3386359"/>
                <a:ext cx="1858822" cy="461665"/>
              </a:xfrm>
              <a:prstGeom prst="rect">
                <a:avLst/>
              </a:prstGeom>
              <a:blipFill>
                <a:blip r:embed="rId5"/>
                <a:stretch>
                  <a:fillRect l="-4918" t="-9333" b="-32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13" descr="A close-up of a black and white image&#10;&#10;Description automatically generated">
            <a:extLst>
              <a:ext uri="{FF2B5EF4-FFF2-40B4-BE49-F238E27FC236}">
                <a16:creationId xmlns:a16="http://schemas.microsoft.com/office/drawing/2014/main" id="{FC85341E-FD34-D89C-0EB8-E1FA9D5F8E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6975" y="2906223"/>
            <a:ext cx="1226710" cy="1226710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4604C74-4E60-E835-7F5F-60CA026C49F7}"/>
              </a:ext>
            </a:extLst>
          </p:cNvPr>
          <p:cNvSpPr/>
          <p:nvPr/>
        </p:nvSpPr>
        <p:spPr>
          <a:xfrm>
            <a:off x="3722911" y="2713811"/>
            <a:ext cx="3733800" cy="1482436"/>
          </a:xfrm>
          <a:prstGeom prst="roundRect">
            <a:avLst>
              <a:gd name="adj" fmla="val 5919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NN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C8EBE3BA-45A9-2056-F6EA-27BA3B1541FC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7456711" y="2221195"/>
            <a:ext cx="1254114" cy="123383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CEF67193-4CBE-9D65-19B3-FAA4C073AC5F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7456711" y="3455030"/>
            <a:ext cx="1254114" cy="770179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63FAE2D-9E27-C2FC-718D-2915D275BA32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741239" y="3455029"/>
            <a:ext cx="98167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94D9049-E97F-ADCD-82A7-DD0DBD64BAF2}"/>
              </a:ext>
            </a:extLst>
          </p:cNvPr>
          <p:cNvSpPr txBox="1"/>
          <p:nvPr/>
        </p:nvSpPr>
        <p:spPr>
          <a:xfrm>
            <a:off x="1113040" y="4151439"/>
            <a:ext cx="2011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Hologram</a:t>
            </a:r>
            <a:endParaRPr lang="en-US" dirty="0"/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84CDB72B-3131-F49A-0DC3-4D7A92AC2B11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7456712" y="3455029"/>
            <a:ext cx="2015707" cy="2016210"/>
          </a:xfrm>
          <a:prstGeom prst="bentConnector3">
            <a:avLst>
              <a:gd name="adj1" fmla="val 3137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F62BCD2-2E43-A99F-AAED-C41C9417DBA3}"/>
                  </a:ext>
                </a:extLst>
              </p:cNvPr>
              <p:cNvSpPr txBox="1"/>
              <p:nvPr/>
            </p:nvSpPr>
            <p:spPr>
              <a:xfrm>
                <a:off x="9482339" y="5193338"/>
                <a:ext cx="35912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F62BCD2-2E43-A99F-AAED-C41C9417D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2339" y="5193338"/>
                <a:ext cx="359129" cy="461665"/>
              </a:xfrm>
              <a:prstGeom prst="rect">
                <a:avLst/>
              </a:prstGeom>
              <a:blipFill>
                <a:blip r:embed="rId7"/>
                <a:stretch>
                  <a:fillRect l="-517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24596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250" autoRev="1" fill="remov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2" dur="250" autoRev="1" fill="remov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3" dur="250" autoRev="1" fill="remov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allAtOnce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414122" y="2682194"/>
            <a:ext cx="11335201" cy="423193"/>
          </a:xfrm>
        </p:spPr>
        <p:txBody>
          <a:bodyPr/>
          <a:lstStyle/>
          <a:p>
            <a:r>
              <a:rPr lang="en-US" sz="2750" dirty="0">
                <a:ea typeface="+mj-lt"/>
                <a:cs typeface="+mj-lt"/>
              </a:rPr>
              <a:t>Holographic </a:t>
            </a:r>
            <a:r>
              <a:rPr kumimoji="1" lang="en-US" sz="2750" dirty="0">
                <a:ea typeface="+mj-lt"/>
                <a:cs typeface="+mj-lt"/>
              </a:rPr>
              <a:t>Data </a:t>
            </a:r>
            <a:r>
              <a:rPr lang="en-US" sz="2750" dirty="0">
                <a:ea typeface="+mj-lt"/>
                <a:cs typeface="+mj-lt"/>
              </a:rPr>
              <a:t>Simulation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25996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300" y="405865"/>
            <a:ext cx="3611566" cy="430759"/>
          </a:xfrm>
        </p:spPr>
        <p:txBody>
          <a:bodyPr/>
          <a:lstStyle/>
          <a:p>
            <a:r>
              <a:rPr lang="en-US" dirty="0"/>
              <a:t>Dataset Generation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3554B1-151A-5811-14D8-535C591A7C77}"/>
              </a:ext>
            </a:extLst>
          </p:cNvPr>
          <p:cNvSpPr txBox="1"/>
          <p:nvPr/>
        </p:nvSpPr>
        <p:spPr>
          <a:xfrm>
            <a:off x="1562671" y="4005064"/>
            <a:ext cx="90730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atin typeface="+mj-lt"/>
                <a:cs typeface="Times New Roman" panose="02020603050405020304" pitchFamily="18" charset="0"/>
              </a:rPr>
              <a:t>Flowchart</a:t>
            </a:r>
            <a:r>
              <a:rPr lang="en-US" sz="2000" b="0" i="0" dirty="0">
                <a:effectLst/>
                <a:latin typeface="+mj-lt"/>
                <a:cs typeface="Times New Roman" panose="02020603050405020304" pitchFamily="18" charset="0"/>
              </a:rPr>
              <a:t> used to generate </a:t>
            </a:r>
            <a:r>
              <a:rPr lang="en-US" sz="2000" dirty="0">
                <a:latin typeface="+mj-lt"/>
                <a:cs typeface="Times New Roman" panose="02020603050405020304" pitchFamily="18" charset="0"/>
              </a:rPr>
              <a:t>data se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CC4B320-894D-92DD-2927-53BBDA694386}"/>
              </a:ext>
            </a:extLst>
          </p:cNvPr>
          <p:cNvSpPr/>
          <p:nvPr/>
        </p:nvSpPr>
        <p:spPr>
          <a:xfrm>
            <a:off x="4010943" y="2655148"/>
            <a:ext cx="1725168" cy="77385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rayscale and normaliza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43E5639-D6E3-8AC9-AF85-ACB944014418}"/>
              </a:ext>
            </a:extLst>
          </p:cNvPr>
          <p:cNvSpPr/>
          <p:nvPr/>
        </p:nvSpPr>
        <p:spPr>
          <a:xfrm>
            <a:off x="6287222" y="2655148"/>
            <a:ext cx="1697737" cy="77385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orm amplitude and phas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25ED47D-81F4-48C5-31AE-0D83F43123F8}"/>
              </a:ext>
            </a:extLst>
          </p:cNvPr>
          <p:cNvSpPr/>
          <p:nvPr/>
        </p:nvSpPr>
        <p:spPr>
          <a:xfrm>
            <a:off x="8594311" y="2659772"/>
            <a:ext cx="1689438" cy="77385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imulate hologram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24FCA45-56FC-EBC2-F468-131BA75E7668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>
            <a:off x="5736111" y="3042074"/>
            <a:ext cx="55111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110DEF-B4BC-901E-7D60-A6F83080CA1B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7984959" y="3042074"/>
            <a:ext cx="609352" cy="4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41BE7-C0EE-AC7B-AB6F-30E2596B2187}"/>
              </a:ext>
            </a:extLst>
          </p:cNvPr>
          <p:cNvSpPr/>
          <p:nvPr/>
        </p:nvSpPr>
        <p:spPr>
          <a:xfrm>
            <a:off x="1716094" y="2655148"/>
            <a:ext cx="1725169" cy="773853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enerate image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Stable Diffusion)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D2125E8-D95F-29F7-CADA-0488D2856C2D}"/>
              </a:ext>
            </a:extLst>
          </p:cNvPr>
          <p:cNvCxnSpPr>
            <a:cxnSpLocks/>
            <a:stCxn id="13" idx="3"/>
            <a:endCxn id="3" idx="1"/>
          </p:cNvCxnSpPr>
          <p:nvPr/>
        </p:nvCxnSpPr>
        <p:spPr>
          <a:xfrm flipV="1">
            <a:off x="3441263" y="3042074"/>
            <a:ext cx="56968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9888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0074" y="107719"/>
            <a:ext cx="4767331" cy="430759"/>
          </a:xfrm>
        </p:spPr>
        <p:txBody>
          <a:bodyPr/>
          <a:lstStyle/>
          <a:p>
            <a:r>
              <a:rPr lang="en-US" dirty="0"/>
              <a:t>Synthetic Data Generation</a:t>
            </a:r>
          </a:p>
        </p:txBody>
      </p:sp>
      <p:pic>
        <p:nvPicPr>
          <p:cNvPr id="8" name="Picture 7" descr="A close up of a cell&#10;&#10;Description automatically generated">
            <a:extLst>
              <a:ext uri="{FF2B5EF4-FFF2-40B4-BE49-F238E27FC236}">
                <a16:creationId xmlns:a16="http://schemas.microsoft.com/office/drawing/2014/main" id="{0A88F889-B07E-EC2F-3FC8-395841217A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0675" y="1340769"/>
            <a:ext cx="1929103" cy="1940446"/>
          </a:xfrm>
          <a:prstGeom prst="rect">
            <a:avLst/>
          </a:prstGeom>
        </p:spPr>
      </p:pic>
      <p:pic>
        <p:nvPicPr>
          <p:cNvPr id="10" name="Picture 9" descr="A close-up of a cell&#10;&#10;Description automatically generated">
            <a:extLst>
              <a:ext uri="{FF2B5EF4-FFF2-40B4-BE49-F238E27FC236}">
                <a16:creationId xmlns:a16="http://schemas.microsoft.com/office/drawing/2014/main" id="{CAB21FE0-E575-F2E6-EB18-F336AF9AD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767" y="1340768"/>
            <a:ext cx="1944216" cy="1944216"/>
          </a:xfrm>
          <a:prstGeom prst="rect">
            <a:avLst/>
          </a:prstGeom>
        </p:spPr>
      </p:pic>
      <p:pic>
        <p:nvPicPr>
          <p:cNvPr id="12" name="Picture 11" descr="A close up of a cell&#10;&#10;Description automatically generated">
            <a:extLst>
              <a:ext uri="{FF2B5EF4-FFF2-40B4-BE49-F238E27FC236}">
                <a16:creationId xmlns:a16="http://schemas.microsoft.com/office/drawing/2014/main" id="{25BE8580-26C3-D2E7-6DFC-E41405018E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481" y="1340768"/>
            <a:ext cx="1944216" cy="1944216"/>
          </a:xfrm>
          <a:prstGeom prst="rect">
            <a:avLst/>
          </a:prstGeom>
        </p:spPr>
      </p:pic>
      <p:pic>
        <p:nvPicPr>
          <p:cNvPr id="14" name="Picture 13" descr="A close-up of a cell&#10;&#10;Description automatically generated">
            <a:extLst>
              <a:ext uri="{FF2B5EF4-FFF2-40B4-BE49-F238E27FC236}">
                <a16:creationId xmlns:a16="http://schemas.microsoft.com/office/drawing/2014/main" id="{AA232E76-D7A4-F451-3388-B76CE9E1762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41481" y="3323421"/>
            <a:ext cx="1944216" cy="1944216"/>
          </a:xfrm>
          <a:prstGeom prst="rect">
            <a:avLst/>
          </a:prstGeom>
        </p:spPr>
      </p:pic>
      <p:pic>
        <p:nvPicPr>
          <p:cNvPr id="16" name="Picture 15" descr="A close-up of a cell&#10;&#10;Description automatically generated">
            <a:extLst>
              <a:ext uri="{FF2B5EF4-FFF2-40B4-BE49-F238E27FC236}">
                <a16:creationId xmlns:a16="http://schemas.microsoft.com/office/drawing/2014/main" id="{BDDD6392-4E50-7349-6411-8514E92478C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9272" y="3318658"/>
            <a:ext cx="1944216" cy="1944216"/>
          </a:xfrm>
          <a:prstGeom prst="rect">
            <a:avLst/>
          </a:prstGeom>
        </p:spPr>
      </p:pic>
      <p:pic>
        <p:nvPicPr>
          <p:cNvPr id="18" name="Picture 17" descr="A close-up of a cell&#10;&#10;Description automatically generated">
            <a:extLst>
              <a:ext uri="{FF2B5EF4-FFF2-40B4-BE49-F238E27FC236}">
                <a16:creationId xmlns:a16="http://schemas.microsoft.com/office/drawing/2014/main" id="{2B4BE9DC-9CA9-CE99-4B7F-0A245F32B79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063" y="3322429"/>
            <a:ext cx="1940481" cy="194044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36B67A9-B30E-9AFB-7620-EF38E11AA2B1}"/>
              </a:ext>
            </a:extLst>
          </p:cNvPr>
          <p:cNvSpPr txBox="1"/>
          <p:nvPr/>
        </p:nvSpPr>
        <p:spPr>
          <a:xfrm>
            <a:off x="6786433" y="2842567"/>
            <a:ext cx="50714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 diffusion model finetuned on microscopic images 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used to </a:t>
            </a:r>
            <a:r>
              <a:rPr lang="en-US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generate large number of training samples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0BB636-EA73-BC5D-693E-62A831098C98}"/>
              </a:ext>
            </a:extLst>
          </p:cNvPr>
          <p:cNvSpPr txBox="1"/>
          <p:nvPr/>
        </p:nvSpPr>
        <p:spPr>
          <a:xfrm>
            <a:off x="441481" y="5304088"/>
            <a:ext cx="60106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3: Synthetic image samples generated by a stable diffusion model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0D704F-1265-FD0E-DFE1-4F52572E4282}"/>
              </a:ext>
            </a:extLst>
          </p:cNvPr>
          <p:cNvSpPr txBox="1"/>
          <p:nvPr/>
        </p:nvSpPr>
        <p:spPr>
          <a:xfrm>
            <a:off x="67884" y="5967123"/>
            <a:ext cx="66469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hlinkClick r:id="rId8"/>
              </a:rPr>
              <a:t>https://huggingface.co/Fictiverse/Stable_Diffusion_Microscopic_model</a:t>
            </a:r>
            <a:endParaRPr lang="en-US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DCA1F-CAC5-6294-31BB-850CB31F9DD0}"/>
              </a:ext>
            </a:extLst>
          </p:cNvPr>
          <p:cNvSpPr txBox="1"/>
          <p:nvPr/>
        </p:nvSpPr>
        <p:spPr>
          <a:xfrm>
            <a:off x="7749528" y="3173202"/>
            <a:ext cx="159636" cy="2160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050" dirty="0">
                <a:solidFill>
                  <a:srgbClr val="D42F7E"/>
                </a:solidFill>
              </a:rPr>
              <a:t>1</a:t>
            </a:r>
            <a:endParaRPr lang="en-US" sz="1050" dirty="0">
              <a:solidFill>
                <a:srgbClr val="D42F7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F8CBDD-9431-F1CE-329E-01E7B2C83C42}"/>
              </a:ext>
            </a:extLst>
          </p:cNvPr>
          <p:cNvSpPr txBox="1"/>
          <p:nvPr/>
        </p:nvSpPr>
        <p:spPr>
          <a:xfrm>
            <a:off x="20438" y="5967123"/>
            <a:ext cx="159636" cy="2160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050" dirty="0">
                <a:solidFill>
                  <a:srgbClr val="D42F7E"/>
                </a:solidFill>
              </a:rPr>
              <a:t>1</a:t>
            </a:r>
            <a:endParaRPr lang="en-US" sz="1050" dirty="0">
              <a:solidFill>
                <a:srgbClr val="D42F7E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AFD736B6-71CD-8CE4-53D0-A881C8BFA2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0216" y="78032"/>
            <a:ext cx="5228060" cy="49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426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Master">
  <a:themeElements>
    <a:clrScheme name="SONY">
      <a:dk1>
        <a:srgbClr val="000000"/>
      </a:dk1>
      <a:lt1>
        <a:sysClr val="window" lastClr="FFFFFF"/>
      </a:lt1>
      <a:dk2>
        <a:srgbClr val="003366"/>
      </a:dk2>
      <a:lt2>
        <a:srgbClr val="C8C8C8"/>
      </a:lt2>
      <a:accent1>
        <a:srgbClr val="646464"/>
      </a:accent1>
      <a:accent2>
        <a:srgbClr val="54A9CC"/>
      </a:accent2>
      <a:accent3>
        <a:srgbClr val="1952A6"/>
      </a:accent3>
      <a:accent4>
        <a:srgbClr val="F2CE00"/>
      </a:accent4>
      <a:accent5>
        <a:srgbClr val="318C3A"/>
      </a:accent5>
      <a:accent6>
        <a:srgbClr val="CF1111"/>
      </a:accent6>
      <a:hlink>
        <a:srgbClr val="5887F5"/>
      </a:hlink>
      <a:folHlink>
        <a:srgbClr val="683ABD"/>
      </a:folHlink>
    </a:clrScheme>
    <a:fontScheme name="Custom 3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chemeClr val="tx1"/>
          </a:solidFill>
        </a:ln>
      </a:spPr>
      <a:bodyPr lIns="108000" tIns="108000" rIns="108000" bIns="108000" rtlCol="0" anchor="ctr"/>
      <a:lstStyle>
        <a:defPPr algn="ctr">
          <a:defRPr kumimoji="1" sz="20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41200" indent="-241200" algn="l">
          <a:spcBef>
            <a:spcPts val="600"/>
          </a:spcBef>
          <a:buClr>
            <a:schemeClr val="tx2"/>
          </a:buClr>
          <a:buFont typeface="Arial" panose="020B0604020202020204" pitchFamily="34" charset="0"/>
          <a:buChar char="•"/>
          <a:defRPr sz="1800" dirty="0" smtClean="0"/>
        </a:defPPr>
      </a:lstStyle>
    </a:txDef>
  </a:objectDefaults>
  <a:extraClrSchemeLst/>
  <a:custClrLst>
    <a:custClr name="Pink">
      <a:srgbClr val="D42F7E"/>
    </a:custClr>
    <a:custClr name="Purple">
      <a:srgbClr val="7C388C"/>
    </a:custClr>
    <a:custClr name="Orange">
      <a:srgbClr val="E6820B"/>
    </a:custClr>
  </a:custClrLst>
  <a:extLst>
    <a:ext uri="{05A4C25C-085E-4340-85A3-A5531E510DB2}">
      <thm15:themeFamily xmlns:thm15="http://schemas.microsoft.com/office/thememl/2012/main" name="RDCEU_SL1_MasterLayout2021_Arial.pptx" id="{708C6F7C-F78A-479B-B7AC-B7008D117A75}" vid="{9B4FB82C-E2A6-4796-A9A7-71543A7E4725}"/>
    </a:ext>
  </a:extLst>
</a:theme>
</file>

<file path=ppt/theme/theme2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4</Words>
  <Application>Microsoft Office PowerPoint</Application>
  <PresentationFormat>自定义</PresentationFormat>
  <Paragraphs>587</Paragraphs>
  <Slides>51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1</vt:i4>
      </vt:variant>
    </vt:vector>
  </HeadingPairs>
  <TitlesOfParts>
    <vt:vector size="62" baseType="lpstr">
      <vt:lpstr>メイリオ</vt:lpstr>
      <vt:lpstr>Arial</vt:lpstr>
      <vt:lpstr>Cambria Math</vt:lpstr>
      <vt:lpstr>Courier New</vt:lpstr>
      <vt:lpstr>Lato</vt:lpstr>
      <vt:lpstr>Roboto</vt:lpstr>
      <vt:lpstr>Tahoma</vt:lpstr>
      <vt:lpstr>Times New Roman</vt:lpstr>
      <vt:lpstr>Wingdings</vt:lpstr>
      <vt:lpstr>Blue Master</vt:lpstr>
      <vt:lpstr>think-cell Folie</vt:lpstr>
      <vt:lpstr>CROSS-NET: IN-LINE HOLOGRAPHIC IMAGE RECONSTRUCTION AND REFOCUSING</vt:lpstr>
      <vt:lpstr>Outline</vt:lpstr>
      <vt:lpstr>Introduction</vt:lpstr>
      <vt:lpstr>In-Line Holographic Imaging</vt:lpstr>
      <vt:lpstr>Possible Reconstruction Approaches  </vt:lpstr>
      <vt:lpstr>Goal </vt:lpstr>
      <vt:lpstr>Holographic Data Simulation</vt:lpstr>
      <vt:lpstr>Dataset Generation </vt:lpstr>
      <vt:lpstr>Synthetic Data Generation</vt:lpstr>
      <vt:lpstr>Complex Field Generation </vt:lpstr>
      <vt:lpstr>Holographic Image Formation Model</vt:lpstr>
      <vt:lpstr>Dataset Statistics</vt:lpstr>
      <vt:lpstr>Methodology</vt:lpstr>
      <vt:lpstr>Propose Approach “Cross-Net”</vt:lpstr>
      <vt:lpstr>Propose Approach “Cross-Net”</vt:lpstr>
      <vt:lpstr>Overall Architecture</vt:lpstr>
      <vt:lpstr>Information of ViT and Cross-Net used for later experiment.</vt:lpstr>
      <vt:lpstr>Benchmarks </vt:lpstr>
      <vt:lpstr>Experimental Results</vt:lpstr>
      <vt:lpstr>Experiment results: Loss curves</vt:lpstr>
      <vt:lpstr>Experiment results: Metrics on test set 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Sample</vt:lpstr>
      <vt:lpstr>Experiment results: External generalization</vt:lpstr>
      <vt:lpstr>Experiment result: External generalization</vt:lpstr>
      <vt:lpstr>Experiment result: External generalization sample</vt:lpstr>
      <vt:lpstr>Experiment result: External generalization sample</vt:lpstr>
      <vt:lpstr>Experiment result: External generalization sample</vt:lpstr>
      <vt:lpstr>Experiment result: External generalization sample</vt:lpstr>
      <vt:lpstr>Experimental Results</vt:lpstr>
      <vt:lpstr>Experiment result: Ablation Studies </vt:lpstr>
      <vt:lpstr>Conclusions </vt:lpstr>
      <vt:lpstr>Future work </vt:lpstr>
      <vt:lpstr>Appendix</vt:lpstr>
      <vt:lpstr>Appendix: Other trials </vt:lpstr>
      <vt:lpstr>State-of-the-art Competing Approaches</vt:lpstr>
      <vt:lpstr>State-of-the-art Competing Approaches</vt:lpstr>
      <vt:lpstr>State-of-the-art Competing Approaches</vt:lpstr>
      <vt:lpstr>State-of-the-art Competing Approaches</vt:lpstr>
      <vt:lpstr>Method: Propose Cross-Net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ent Meeting template</dc:title>
  <dc:creator/>
  <cp:lastModifiedBy/>
  <cp:revision>85</cp:revision>
  <dcterms:created xsi:type="dcterms:W3CDTF">2014-03-28T10:24:08Z</dcterms:created>
  <dcterms:modified xsi:type="dcterms:W3CDTF">2024-03-31T14:5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20010AEFE09DCD06140A9660BDD0E512771</vt:lpwstr>
  </property>
  <property fmtid="{D5CDD505-2E9C-101B-9397-08002B2CF9AE}" pid="3" name="NXPowerLiteLastOptimized">
    <vt:lpwstr>1169750</vt:lpwstr>
  </property>
  <property fmtid="{D5CDD505-2E9C-101B-9397-08002B2CF9AE}" pid="4" name="NXPowerLiteSettings">
    <vt:lpwstr>F900050004A000</vt:lpwstr>
  </property>
  <property fmtid="{D5CDD505-2E9C-101B-9397-08002B2CF9AE}" pid="5" name="NXPowerLiteVersion">
    <vt:lpwstr>D5.0.3</vt:lpwstr>
  </property>
</Properties>
</file>